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6" r:id="rId2"/>
    <p:sldMasterId id="2147483732" r:id="rId3"/>
  </p:sldMasterIdLst>
  <p:notesMasterIdLst>
    <p:notesMasterId r:id="rId16"/>
  </p:notesMasterIdLst>
  <p:sldIdLst>
    <p:sldId id="257" r:id="rId4"/>
    <p:sldId id="4986" r:id="rId5"/>
    <p:sldId id="7457" r:id="rId6"/>
    <p:sldId id="267" r:id="rId7"/>
    <p:sldId id="2147469461" r:id="rId8"/>
    <p:sldId id="273" r:id="rId9"/>
    <p:sldId id="274" r:id="rId10"/>
    <p:sldId id="271" r:id="rId11"/>
    <p:sldId id="275" r:id="rId12"/>
    <p:sldId id="276" r:id="rId13"/>
    <p:sldId id="277" r:id="rId14"/>
    <p:sldId id="272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82" d="100"/>
          <a:sy n="82" d="100"/>
        </p:scale>
        <p:origin x="672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7EF9DC-AF8E-4654-BAAE-48A126795AF9}" type="datetimeFigureOut">
              <a:rPr lang="en-US" smtClean="0"/>
              <a:t>2024-05-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FD66BF-B752-4606-B527-EFE5AFD651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0810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13171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317500"/>
            <a:ext cx="6432550" cy="3619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BC732A-A5AA-4B42-BB2D-0A6F19F29EF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30604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7" Type="http://schemas.openxmlformats.org/officeDocument/2006/relationships/image" Target="../media/image21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0.png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24.sv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1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1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1.sv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1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024-05-1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63510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2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E963B71A-4388-F238-AD31-D2DBEA79009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79828F19-FF7E-1521-AB61-7F8E4A6577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834570" y="2622329"/>
            <a:ext cx="2654300" cy="631976"/>
          </a:xfrm>
          <a:prstGeom prst="rect">
            <a:avLst/>
          </a:prstGeom>
        </p:spPr>
      </p:pic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331CF89D-C1C4-8171-0803-9D2EC23283B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2401" y="5598870"/>
            <a:ext cx="8997028" cy="427008"/>
          </a:xfrm>
        </p:spPr>
        <p:txBody>
          <a:bodyPr tIns="0"/>
          <a:lstStyle>
            <a:lvl1pPr marL="0" indent="0" algn="l">
              <a:lnSpc>
                <a:spcPts val="2340"/>
              </a:lnSpc>
              <a:spcBef>
                <a:spcPts val="0"/>
              </a:spcBef>
              <a:spcAft>
                <a:spcPts val="0"/>
              </a:spcAft>
              <a:buNone/>
              <a:defRPr sz="1900" b="1" i="0" cap="none" spc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1DE13AB1-A8F8-B630-7248-D1B4D6C2FF1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2401" y="5887534"/>
            <a:ext cx="8997028" cy="427008"/>
          </a:xfrm>
        </p:spPr>
        <p:txBody>
          <a:bodyPr tIns="0"/>
          <a:lstStyle>
            <a:lvl1pPr marL="0" indent="0" algn="l">
              <a:lnSpc>
                <a:spcPts val="2340"/>
              </a:lnSpc>
              <a:spcBef>
                <a:spcPts val="0"/>
              </a:spcBef>
              <a:spcAft>
                <a:spcPts val="0"/>
              </a:spcAft>
              <a:buNone/>
              <a:defRPr sz="1425" b="0" i="0" cap="none" spc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B1A2AE21-FE10-95F6-6EAF-72DCE25B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2401" y="4685665"/>
            <a:ext cx="8997024" cy="685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200"/>
              </a:lnSpc>
              <a:defRPr sz="3800" b="1" i="0" cap="none" spc="0" baseline="0">
                <a:solidFill>
                  <a:schemeClr val="bg1"/>
                </a:solidFill>
                <a:effectLst/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A8496469-D70B-10BF-0592-AF37C2FE5D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715" r="28273"/>
          <a:stretch/>
        </p:blipFill>
        <p:spPr>
          <a:xfrm>
            <a:off x="-1" y="503797"/>
            <a:ext cx="12191999" cy="3893204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F47FC550-B0A3-CD26-E090-2C7499C94B5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47413" y="5699303"/>
            <a:ext cx="1760018" cy="419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22683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3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F0480007-88D5-CC08-E690-0D2A587EC2B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7AA08890-C485-34DF-5ECD-52D95522C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2401" y="5598870"/>
            <a:ext cx="8997028" cy="427008"/>
          </a:xfrm>
        </p:spPr>
        <p:txBody>
          <a:bodyPr tIns="0"/>
          <a:lstStyle>
            <a:lvl1pPr marL="0" indent="0" algn="l">
              <a:lnSpc>
                <a:spcPts val="2340"/>
              </a:lnSpc>
              <a:spcBef>
                <a:spcPts val="0"/>
              </a:spcBef>
              <a:spcAft>
                <a:spcPts val="0"/>
              </a:spcAft>
              <a:buNone/>
              <a:defRPr sz="1900" b="1" i="0" cap="none" spc="0" baseline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D13C9E7-015A-9060-8A00-B217FC75C1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2401" y="4685665"/>
            <a:ext cx="8997024" cy="685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200"/>
              </a:lnSpc>
              <a:defRPr sz="3800" b="1" i="0" cap="none" spc="0" baseline="0">
                <a:solidFill>
                  <a:schemeClr val="accent1"/>
                </a:solidFill>
                <a:effectLst/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A31B3807-1489-CAA0-5705-0C3FFD4AFE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2401" y="5887534"/>
            <a:ext cx="8997028" cy="427008"/>
          </a:xfrm>
        </p:spPr>
        <p:txBody>
          <a:bodyPr tIns="0"/>
          <a:lstStyle>
            <a:lvl1pPr marL="0" indent="0" algn="l">
              <a:lnSpc>
                <a:spcPts val="2340"/>
              </a:lnSpc>
              <a:spcBef>
                <a:spcPts val="0"/>
              </a:spcBef>
              <a:spcAft>
                <a:spcPts val="0"/>
              </a:spcAft>
              <a:buNone/>
              <a:defRPr sz="1425" b="0" i="0" cap="none" spc="0" baseline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094DDB1-9376-22E5-801C-9ED1A18332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715" r="28273"/>
          <a:stretch/>
        </p:blipFill>
        <p:spPr>
          <a:xfrm>
            <a:off x="-1" y="503797"/>
            <a:ext cx="12191999" cy="3893204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656695F1-0166-D86D-6A54-F901CD88C10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147413" y="5699303"/>
            <a:ext cx="1760018" cy="419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083825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6">
            <a:extLst>
              <a:ext uri="{FF2B5EF4-FFF2-40B4-BE49-F238E27FC236}">
                <a16:creationId xmlns:a16="http://schemas.microsoft.com/office/drawing/2014/main" id="{E03C9051-71C2-8818-7195-7AFD1A6164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65760"/>
            <a:ext cx="11461750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17022A7-4BA8-FCB7-5074-1B56CECD6DF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5125" y="1574800"/>
            <a:ext cx="11461750" cy="4114800"/>
          </a:xfrm>
        </p:spPr>
        <p:txBody>
          <a:bodyPr/>
          <a:lstStyle>
            <a:lvl1pPr marL="502920" indent="-502920">
              <a:lnSpc>
                <a:spcPct val="120000"/>
              </a:lnSpc>
              <a:buSzPct val="100000"/>
              <a:buFont typeface="+mj-lt"/>
              <a:buAutoNum type="arabicPeriod"/>
              <a:defRPr sz="2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0467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6">
            <a:extLst>
              <a:ext uri="{FF2B5EF4-FFF2-40B4-BE49-F238E27FC236}">
                <a16:creationId xmlns:a16="http://schemas.microsoft.com/office/drawing/2014/main" id="{D43F4DDF-9B26-0FD6-2240-8FE31F6CB7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65760"/>
            <a:ext cx="11461750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395864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17022A7-4BA8-FCB7-5074-1B56CECD6DF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7284" y="1574800"/>
            <a:ext cx="11459591" cy="41148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20226E-F82D-52DF-2FCC-6209BED09E9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7284" y="5833872"/>
            <a:ext cx="8819340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144D62-185B-71B0-C469-88C682079C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516442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20226E-F82D-52DF-2FCC-6209BED09E9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7283" y="5833872"/>
            <a:ext cx="10157841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144D62-185B-71B0-C469-88C682079C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93879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17022A7-4BA8-FCB7-5074-1B56CECD6DF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7284" y="1574800"/>
            <a:ext cx="11459591" cy="41148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20226E-F82D-52DF-2FCC-6209BED09E9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7284" y="5833872"/>
            <a:ext cx="8819340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0CB76D8-989F-BED3-CE14-9D23BCC888D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144D62-185B-71B0-C469-88C682079C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32FB932-20F6-C37E-1CCC-7CAE6F2171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  <p:sp>
        <p:nvSpPr>
          <p:cNvPr id="6" name="Text Box 5">
            <a:extLst>
              <a:ext uri="{FF2B5EF4-FFF2-40B4-BE49-F238E27FC236}">
                <a16:creationId xmlns:a16="http://schemas.microsoft.com/office/drawing/2014/main" id="{0B46DD9C-4715-15B1-7728-E91146E71239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274628" y="6550227"/>
            <a:ext cx="2042547" cy="307777"/>
          </a:xfrm>
          <a:prstGeom prst="rect">
            <a:avLst/>
          </a:prstGeom>
          <a:noFill/>
          <a:ln w="76200" algn="ctr">
            <a:noFill/>
            <a:miter lim="800000"/>
            <a:headEnd/>
            <a:tailEnd/>
          </a:ln>
        </p:spPr>
        <p:txBody>
          <a:bodyPr wrap="none" lIns="91440" tIns="91440" rIns="91440" bIns="91440" anchor="b">
            <a:spAutoFit/>
          </a:bodyPr>
          <a:lstStyle/>
          <a:p>
            <a:pPr>
              <a:tabLst>
                <a:tab pos="4572000" algn="ctr"/>
                <a:tab pos="8964613" algn="r"/>
              </a:tabLst>
              <a:defRPr/>
            </a:pPr>
            <a:r>
              <a:rPr lang="en-US" sz="800" dirty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© 2023 Amgen Inc. All rights reserved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459615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and Content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17022A7-4BA8-FCB7-5074-1B56CECD6DF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5126" y="2161309"/>
            <a:ext cx="11461749" cy="352829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FEF57AC-E6C8-F910-79ED-F76FB3BED9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5126" y="1574800"/>
            <a:ext cx="11461749" cy="412750"/>
          </a:xfrm>
        </p:spPr>
        <p:txBody>
          <a:bodyPr/>
          <a:lstStyle>
            <a:lvl1pPr marL="0" indent="0">
              <a:buNone/>
              <a:defRPr b="1" i="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D30EA408-BDA5-1120-95AB-259BA4578D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126" y="5833872"/>
            <a:ext cx="8821000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4" name="Title Placeholder 6">
            <a:extLst>
              <a:ext uri="{FF2B5EF4-FFF2-40B4-BE49-F238E27FC236}">
                <a16:creationId xmlns:a16="http://schemas.microsoft.com/office/drawing/2014/main" id="{3700745A-22BA-4BE9-1AAC-1A73B9321D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65760"/>
            <a:ext cx="11461750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902130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17022A7-4BA8-FCB7-5074-1B56CECD6DF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7286" y="1574801"/>
            <a:ext cx="5577840" cy="4114800"/>
          </a:xfrm>
        </p:spPr>
        <p:txBody>
          <a:bodyPr/>
          <a:lstStyle>
            <a:lvl4pPr>
              <a:spcAft>
                <a:spcPts val="400"/>
              </a:spcAft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Content Placeholder 7">
            <a:extLst>
              <a:ext uri="{FF2B5EF4-FFF2-40B4-BE49-F238E27FC236}">
                <a16:creationId xmlns:a16="http://schemas.microsoft.com/office/drawing/2014/main" id="{852D3A1C-FC42-4C3C-CA91-0E85AFCC5B1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6876" y="1574800"/>
            <a:ext cx="5577840" cy="4114800"/>
          </a:xfrm>
        </p:spPr>
        <p:txBody>
          <a:bodyPr/>
          <a:lstStyle>
            <a:lvl4pPr>
              <a:spcAft>
                <a:spcPts val="400"/>
              </a:spcAft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9A034C5-A832-E1B1-D39A-FCC64F3507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7284" y="5833872"/>
            <a:ext cx="8193024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6" name="Title Placeholder 6">
            <a:extLst>
              <a:ext uri="{FF2B5EF4-FFF2-40B4-BE49-F238E27FC236}">
                <a16:creationId xmlns:a16="http://schemas.microsoft.com/office/drawing/2014/main" id="{ED9B9CF2-FE37-6774-EB33-7981342450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65760"/>
            <a:ext cx="11461750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8519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17022A7-4BA8-FCB7-5074-1B56CECD6DF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5126" y="1574801"/>
            <a:ext cx="3719804" cy="4114800"/>
          </a:xfrm>
        </p:spPr>
        <p:txBody>
          <a:bodyPr/>
          <a:lstStyle>
            <a:lvl2pPr>
              <a:spcAft>
                <a:spcPts val="1000"/>
              </a:spcAft>
              <a:defRPr sz="1600"/>
            </a:lvl2pPr>
            <a:lvl3pPr>
              <a:spcAft>
                <a:spcPts val="400"/>
              </a:spcAft>
              <a:defRPr sz="12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Content Placeholder 7">
            <a:extLst>
              <a:ext uri="{FF2B5EF4-FFF2-40B4-BE49-F238E27FC236}">
                <a16:creationId xmlns:a16="http://schemas.microsoft.com/office/drawing/2014/main" id="{852D3A1C-FC42-4C3C-CA91-0E85AFCC5B1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236099" y="1574800"/>
            <a:ext cx="3719804" cy="4114800"/>
          </a:xfrm>
        </p:spPr>
        <p:txBody>
          <a:bodyPr/>
          <a:lstStyle>
            <a:lvl2pPr>
              <a:spcAft>
                <a:spcPts val="1000"/>
              </a:spcAft>
              <a:defRPr sz="1600"/>
            </a:lvl2pPr>
            <a:lvl3pPr>
              <a:spcAft>
                <a:spcPts val="400"/>
              </a:spcAft>
              <a:defRPr sz="12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C47DC95C-3894-C033-5E7E-06964A9EE73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07072" y="1574800"/>
            <a:ext cx="3719804" cy="4114800"/>
          </a:xfrm>
        </p:spPr>
        <p:txBody>
          <a:bodyPr/>
          <a:lstStyle>
            <a:lvl2pPr>
              <a:spcAft>
                <a:spcPts val="1000"/>
              </a:spcAft>
              <a:defRPr sz="1600"/>
            </a:lvl2pPr>
            <a:lvl3pPr>
              <a:spcAft>
                <a:spcPts val="400"/>
              </a:spcAft>
              <a:defRPr sz="12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8292EC5-755A-AD53-D396-EDEDEF19950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5833872"/>
            <a:ext cx="8968077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D9F04FC0-05F8-874B-C784-F53E61719C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65760"/>
            <a:ext cx="11461750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837808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1698545"/>
            <a:ext cx="1062355" cy="483870"/>
          </a:xfrm>
          <a:custGeom>
            <a:avLst/>
            <a:gdLst/>
            <a:ahLst/>
            <a:cxnLst/>
            <a:rect l="l" t="t" r="r" b="b"/>
            <a:pathLst>
              <a:path w="1062355" h="483869">
                <a:moveTo>
                  <a:pt x="820140" y="0"/>
                </a:moveTo>
                <a:lnTo>
                  <a:pt x="0" y="0"/>
                </a:lnTo>
                <a:lnTo>
                  <a:pt x="0" y="483806"/>
                </a:lnTo>
                <a:lnTo>
                  <a:pt x="820140" y="483806"/>
                </a:lnTo>
                <a:lnTo>
                  <a:pt x="868889" y="478891"/>
                </a:lnTo>
                <a:lnTo>
                  <a:pt x="914295" y="464796"/>
                </a:lnTo>
                <a:lnTo>
                  <a:pt x="955385" y="442492"/>
                </a:lnTo>
                <a:lnTo>
                  <a:pt x="991185" y="412953"/>
                </a:lnTo>
                <a:lnTo>
                  <a:pt x="1020724" y="377151"/>
                </a:lnTo>
                <a:lnTo>
                  <a:pt x="1043027" y="336059"/>
                </a:lnTo>
                <a:lnTo>
                  <a:pt x="1057122" y="290650"/>
                </a:lnTo>
                <a:lnTo>
                  <a:pt x="1062037" y="241896"/>
                </a:lnTo>
                <a:lnTo>
                  <a:pt x="1057122" y="193147"/>
                </a:lnTo>
                <a:lnTo>
                  <a:pt x="1043027" y="147741"/>
                </a:lnTo>
                <a:lnTo>
                  <a:pt x="1020724" y="106652"/>
                </a:lnTo>
                <a:lnTo>
                  <a:pt x="991185" y="70851"/>
                </a:lnTo>
                <a:lnTo>
                  <a:pt x="955385" y="41313"/>
                </a:lnTo>
                <a:lnTo>
                  <a:pt x="914295" y="19010"/>
                </a:lnTo>
                <a:lnTo>
                  <a:pt x="868889" y="4914"/>
                </a:lnTo>
                <a:lnTo>
                  <a:pt x="820140" y="0"/>
                </a:lnTo>
                <a:close/>
              </a:path>
            </a:pathLst>
          </a:custGeom>
          <a:solidFill>
            <a:srgbClr val="0080C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600" b="0" i="0">
                <a:solidFill>
                  <a:srgbClr val="58595B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000" b="1" i="0">
                <a:solidFill>
                  <a:srgbClr val="FFC20E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024-05-1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542632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17022A7-4BA8-FCB7-5074-1B56CECD6DF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5125" y="1574801"/>
            <a:ext cx="2743200" cy="4114800"/>
          </a:xfrm>
        </p:spPr>
        <p:txBody>
          <a:bodyPr/>
          <a:lstStyle>
            <a:lvl2pPr>
              <a:spcAft>
                <a:spcPts val="1000"/>
              </a:spcAft>
              <a:defRPr sz="1600"/>
            </a:lvl2pPr>
            <a:lvl3pPr>
              <a:spcAft>
                <a:spcPts val="400"/>
              </a:spcAft>
              <a:defRPr sz="12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Content Placeholder 7">
            <a:extLst>
              <a:ext uri="{FF2B5EF4-FFF2-40B4-BE49-F238E27FC236}">
                <a16:creationId xmlns:a16="http://schemas.microsoft.com/office/drawing/2014/main" id="{852D3A1C-FC42-4C3C-CA91-0E85AFCC5B1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300340" y="1574800"/>
            <a:ext cx="2743200" cy="4114800"/>
          </a:xfrm>
        </p:spPr>
        <p:txBody>
          <a:bodyPr/>
          <a:lstStyle>
            <a:lvl2pPr>
              <a:spcAft>
                <a:spcPts val="1000"/>
              </a:spcAft>
              <a:defRPr sz="1600"/>
            </a:lvl2pPr>
            <a:lvl3pPr>
              <a:spcAft>
                <a:spcPts val="400"/>
              </a:spcAft>
              <a:defRPr sz="12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C47DC95C-3894-C033-5E7E-06964A9EE73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35555" y="1574800"/>
            <a:ext cx="2743200" cy="4114800"/>
          </a:xfrm>
        </p:spPr>
        <p:txBody>
          <a:bodyPr/>
          <a:lstStyle>
            <a:lvl2pPr>
              <a:spcAft>
                <a:spcPts val="1000"/>
              </a:spcAft>
              <a:defRPr sz="1600"/>
            </a:lvl2pPr>
            <a:lvl3pPr>
              <a:spcAft>
                <a:spcPts val="400"/>
              </a:spcAft>
              <a:defRPr sz="12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EFF3AA82-AE0B-AD34-C046-B1F38464DAA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170770" y="1574800"/>
            <a:ext cx="2743200" cy="4114800"/>
          </a:xfrm>
        </p:spPr>
        <p:txBody>
          <a:bodyPr/>
          <a:lstStyle>
            <a:lvl2pPr>
              <a:spcAft>
                <a:spcPts val="1000"/>
              </a:spcAft>
              <a:defRPr sz="1600"/>
            </a:lvl2pPr>
            <a:lvl3pPr>
              <a:spcAft>
                <a:spcPts val="400"/>
              </a:spcAft>
              <a:defRPr sz="12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2349EDF-094A-F8D5-DF3C-B393DF4C69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5125" y="5833872"/>
            <a:ext cx="8193024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3AC57BCA-9504-14FA-3E4A-E04C08C6D4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65760"/>
            <a:ext cx="11461750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50717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lumns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17022A7-4BA8-FCB7-5074-1B56CECD6DF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5125" y="1574801"/>
            <a:ext cx="2103120" cy="4114800"/>
          </a:xfr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marL="403225" indent="-219075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tabLst/>
              <a:defRPr sz="1200"/>
            </a:lvl2pPr>
            <a:lvl3pPr marL="576263" indent="-173038">
              <a:lnSpc>
                <a:spcPct val="100000"/>
              </a:lnSpc>
              <a:spcAft>
                <a:spcPts val="400"/>
              </a:spcAft>
              <a:tabLst/>
              <a:defRPr sz="1000"/>
            </a:lvl3pPr>
            <a:lvl4pPr marL="749300" indent="-184150">
              <a:lnSpc>
                <a:spcPct val="100000"/>
              </a:lnSpc>
              <a:spcAft>
                <a:spcPts val="400"/>
              </a:spcAft>
              <a:tabLst/>
              <a:defRPr sz="1400"/>
            </a:lvl4pPr>
            <a:lvl5pPr marL="865188" indent="-127000">
              <a:lnSpc>
                <a:spcPct val="100000"/>
              </a:lnSpc>
              <a:spcAft>
                <a:spcPts val="400"/>
              </a:spcAft>
              <a:tabLst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9CA8025-E18F-AF52-8012-84B0EEA4E6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5125" y="5833872"/>
            <a:ext cx="9008998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3" name="Content Placeholder 7">
            <a:extLst>
              <a:ext uri="{FF2B5EF4-FFF2-40B4-BE49-F238E27FC236}">
                <a16:creationId xmlns:a16="http://schemas.microsoft.com/office/drawing/2014/main" id="{192B8C37-C476-EF02-3D59-38DEB792D3C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2704783" y="1574801"/>
            <a:ext cx="2103120" cy="4114800"/>
          </a:xfr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marL="403225" indent="-219075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tabLst/>
              <a:defRPr sz="1200"/>
            </a:lvl2pPr>
            <a:lvl3pPr marL="576263" indent="-173038">
              <a:lnSpc>
                <a:spcPct val="100000"/>
              </a:lnSpc>
              <a:spcAft>
                <a:spcPts val="400"/>
              </a:spcAft>
              <a:tabLst/>
              <a:defRPr sz="1000"/>
            </a:lvl3pPr>
            <a:lvl4pPr marL="749300" indent="-184150">
              <a:lnSpc>
                <a:spcPct val="100000"/>
              </a:lnSpc>
              <a:spcAft>
                <a:spcPts val="400"/>
              </a:spcAft>
              <a:tabLst/>
              <a:defRPr sz="1400"/>
            </a:lvl4pPr>
            <a:lvl5pPr marL="865188" indent="-127000">
              <a:lnSpc>
                <a:spcPct val="100000"/>
              </a:lnSpc>
              <a:spcAft>
                <a:spcPts val="400"/>
              </a:spcAft>
              <a:tabLst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5A16B268-7CAE-0403-574A-E59D6AE9B8D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044441" y="1574801"/>
            <a:ext cx="2103120" cy="4114800"/>
          </a:xfr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marL="403225" indent="-219075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tabLst/>
              <a:defRPr sz="1200"/>
            </a:lvl2pPr>
            <a:lvl3pPr marL="576263" indent="-173038">
              <a:lnSpc>
                <a:spcPct val="100000"/>
              </a:lnSpc>
              <a:spcAft>
                <a:spcPts val="400"/>
              </a:spcAft>
              <a:tabLst/>
              <a:defRPr sz="1000"/>
            </a:lvl3pPr>
            <a:lvl4pPr marL="749300" indent="-184150">
              <a:lnSpc>
                <a:spcPct val="100000"/>
              </a:lnSpc>
              <a:spcAft>
                <a:spcPts val="400"/>
              </a:spcAft>
              <a:tabLst/>
              <a:defRPr sz="1400"/>
            </a:lvl4pPr>
            <a:lvl5pPr marL="865188" indent="-127000">
              <a:lnSpc>
                <a:spcPct val="100000"/>
              </a:lnSpc>
              <a:spcAft>
                <a:spcPts val="400"/>
              </a:spcAft>
              <a:tabLst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0943DB4D-045D-1D8E-9EC7-A2EB9C0A40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7384099" y="1574801"/>
            <a:ext cx="2103120" cy="4114800"/>
          </a:xfr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marL="403225" indent="-219075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tabLst/>
              <a:defRPr sz="1200"/>
            </a:lvl2pPr>
            <a:lvl3pPr marL="576263" indent="-173038">
              <a:lnSpc>
                <a:spcPct val="100000"/>
              </a:lnSpc>
              <a:spcAft>
                <a:spcPts val="400"/>
              </a:spcAft>
              <a:tabLst/>
              <a:defRPr sz="1000"/>
            </a:lvl3pPr>
            <a:lvl4pPr marL="749300" indent="-184150">
              <a:lnSpc>
                <a:spcPct val="100000"/>
              </a:lnSpc>
              <a:spcAft>
                <a:spcPts val="400"/>
              </a:spcAft>
              <a:tabLst/>
              <a:defRPr sz="1400"/>
            </a:lvl4pPr>
            <a:lvl5pPr marL="865188" indent="-127000">
              <a:lnSpc>
                <a:spcPct val="100000"/>
              </a:lnSpc>
              <a:spcAft>
                <a:spcPts val="400"/>
              </a:spcAft>
              <a:tabLst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8EE4EDEB-E1CB-C3A8-8FFC-D77B7FE59F4B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723755" y="1574801"/>
            <a:ext cx="2103120" cy="4114800"/>
          </a:xfr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marL="403225" indent="-219075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tabLst/>
              <a:defRPr sz="1200"/>
            </a:lvl2pPr>
            <a:lvl3pPr marL="576263" indent="-173038">
              <a:lnSpc>
                <a:spcPct val="100000"/>
              </a:lnSpc>
              <a:spcAft>
                <a:spcPts val="400"/>
              </a:spcAft>
              <a:tabLst/>
              <a:defRPr sz="1000"/>
            </a:lvl3pPr>
            <a:lvl4pPr marL="749300" indent="-184150">
              <a:lnSpc>
                <a:spcPct val="100000"/>
              </a:lnSpc>
              <a:spcAft>
                <a:spcPts val="400"/>
              </a:spcAft>
              <a:tabLst/>
              <a:defRPr sz="1400"/>
            </a:lvl4pPr>
            <a:lvl5pPr marL="865188" indent="-127000">
              <a:lnSpc>
                <a:spcPct val="100000"/>
              </a:lnSpc>
              <a:spcAft>
                <a:spcPts val="400"/>
              </a:spcAft>
              <a:tabLst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itle Placeholder 6">
            <a:extLst>
              <a:ext uri="{FF2B5EF4-FFF2-40B4-BE49-F238E27FC236}">
                <a16:creationId xmlns:a16="http://schemas.microsoft.com/office/drawing/2014/main" id="{E966EDDA-B729-2768-E361-EBEBC77F7D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65760"/>
            <a:ext cx="11461750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596646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and Two Columns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743CB082-12A6-FFE7-88AA-E3AD7C2383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124" y="1574800"/>
            <a:ext cx="5577840" cy="412750"/>
          </a:xfrm>
        </p:spPr>
        <p:txBody>
          <a:bodyPr/>
          <a:lstStyle>
            <a:lvl1pPr marL="0" indent="0">
              <a:buNone/>
              <a:defRPr b="1" i="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8F398F3-8E7A-E3D1-037D-8C143B1ED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49035" y="1574800"/>
            <a:ext cx="5577840" cy="412750"/>
          </a:xfrm>
        </p:spPr>
        <p:txBody>
          <a:bodyPr/>
          <a:lstStyle>
            <a:lvl1pPr marL="0" indent="0">
              <a:buNone/>
              <a:defRPr b="1" i="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CE42C471-811A-8821-090E-A08A12DE83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5125" y="5833872"/>
            <a:ext cx="8193024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3" name="Content Placeholder 7">
            <a:extLst>
              <a:ext uri="{FF2B5EF4-FFF2-40B4-BE49-F238E27FC236}">
                <a16:creationId xmlns:a16="http://schemas.microsoft.com/office/drawing/2014/main" id="{4804418B-EF3D-3A32-BD87-8F570DEC5C4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65124" y="2161309"/>
            <a:ext cx="5577840" cy="3528292"/>
          </a:xfrm>
        </p:spPr>
        <p:txBody>
          <a:bodyPr/>
          <a:lstStyle>
            <a:lvl4pPr>
              <a:spcAft>
                <a:spcPts val="400"/>
              </a:spcAft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B60EB6CF-D235-6640-C96B-41EB41652757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9035" y="2161308"/>
            <a:ext cx="5577840" cy="3528292"/>
          </a:xfrm>
        </p:spPr>
        <p:txBody>
          <a:bodyPr/>
          <a:lstStyle>
            <a:lvl4pPr>
              <a:spcAft>
                <a:spcPts val="400"/>
              </a:spcAft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Placeholder 6">
            <a:extLst>
              <a:ext uri="{FF2B5EF4-FFF2-40B4-BE49-F238E27FC236}">
                <a16:creationId xmlns:a16="http://schemas.microsoft.com/office/drawing/2014/main" id="{352F4CF6-3E20-6E01-EBFA-446DEA4BE2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65760"/>
            <a:ext cx="11461750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36258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3840480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_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DBF1C7D-11D0-233B-4E6A-74BE1B917F1D}"/>
              </a:ext>
            </a:extLst>
          </p:cNvPr>
          <p:cNvSpPr/>
          <p:nvPr userDrawn="1"/>
        </p:nvSpPr>
        <p:spPr>
          <a:xfrm>
            <a:off x="9303657" y="5954256"/>
            <a:ext cx="2888343" cy="903744"/>
          </a:xfrm>
          <a:prstGeom prst="rect">
            <a:avLst/>
          </a:prstGeom>
          <a:solidFill>
            <a:schemeClr val="bg1"/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dirty="0"/>
          </a:p>
        </p:txBody>
      </p:sp>
      <p:sp>
        <p:nvSpPr>
          <p:cNvPr id="5" name="Title Placeholder 6">
            <a:extLst>
              <a:ext uri="{FF2B5EF4-FFF2-40B4-BE49-F238E27FC236}">
                <a16:creationId xmlns:a16="http://schemas.microsoft.com/office/drawing/2014/main" id="{CAEFDB29-B66E-4211-4F23-985ACA892C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65760"/>
            <a:ext cx="11461750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31930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135D086-7732-CE90-18C3-44F516A9F55C}"/>
              </a:ext>
            </a:extLst>
          </p:cNvPr>
          <p:cNvSpPr/>
          <p:nvPr userDrawn="1"/>
        </p:nvSpPr>
        <p:spPr>
          <a:xfrm>
            <a:off x="9303657" y="5954256"/>
            <a:ext cx="2888343" cy="903744"/>
          </a:xfrm>
          <a:prstGeom prst="rect">
            <a:avLst/>
          </a:prstGeom>
          <a:solidFill>
            <a:schemeClr val="bg1"/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C585A90-46EE-51C9-716B-779C2BE03F47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2954" y="1574800"/>
            <a:ext cx="11465509" cy="41148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91721425-C3AC-D731-5446-FBFC6832DB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2954" y="5833872"/>
            <a:ext cx="8822578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C052F27-8D60-2ED1-70B8-F8566EC7E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65760"/>
            <a:ext cx="11461750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8821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and Content_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135D086-7732-CE90-18C3-44F516A9F55C}"/>
              </a:ext>
            </a:extLst>
          </p:cNvPr>
          <p:cNvSpPr/>
          <p:nvPr userDrawn="1"/>
        </p:nvSpPr>
        <p:spPr>
          <a:xfrm>
            <a:off x="9303657" y="5954256"/>
            <a:ext cx="2888343" cy="903744"/>
          </a:xfrm>
          <a:prstGeom prst="rect">
            <a:avLst/>
          </a:prstGeom>
          <a:solidFill>
            <a:schemeClr val="bg1"/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dirty="0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FA49E9DD-78F6-5597-EB84-D7AB1218F25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2954" y="2161309"/>
            <a:ext cx="11463921" cy="352829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B77F65-3156-B299-8A6C-78C84D9403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2954" y="1574800"/>
            <a:ext cx="11463921" cy="412750"/>
          </a:xfrm>
        </p:spPr>
        <p:txBody>
          <a:bodyPr/>
          <a:lstStyle>
            <a:lvl1pPr marL="0" indent="0">
              <a:buNone/>
              <a:defRPr b="1" i="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CA54EF56-3344-6E40-FBB0-A7F8C22355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2954" y="5833872"/>
            <a:ext cx="8822672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9" name="Title Placeholder 6">
            <a:extLst>
              <a:ext uri="{FF2B5EF4-FFF2-40B4-BE49-F238E27FC236}">
                <a16:creationId xmlns:a16="http://schemas.microsoft.com/office/drawing/2014/main" id="{22CFE453-07B9-F657-7165-293B064679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65760"/>
            <a:ext cx="11461750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977191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_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8D9B8EE-BC3B-7E56-2BBE-6D2C370C65A1}"/>
              </a:ext>
            </a:extLst>
          </p:cNvPr>
          <p:cNvSpPr/>
          <p:nvPr userDrawn="1"/>
        </p:nvSpPr>
        <p:spPr>
          <a:xfrm>
            <a:off x="9303657" y="5954256"/>
            <a:ext cx="2888343" cy="903744"/>
          </a:xfrm>
          <a:prstGeom prst="rect">
            <a:avLst/>
          </a:prstGeom>
          <a:solidFill>
            <a:schemeClr val="bg1"/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dirty="0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C16E4CD3-9E39-972B-822E-2FB6F88681F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2956" y="1574801"/>
            <a:ext cx="5577840" cy="41148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FA40973E-97B8-CC18-DF83-D8E5458BFF4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51206" y="1574800"/>
            <a:ext cx="5577840" cy="41148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75F4F868-6A57-BD2C-72A2-6C2D05DC0D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2954" y="5833872"/>
            <a:ext cx="8193024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4DF18F99-C415-6A21-53F7-F81A1461B8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65760"/>
            <a:ext cx="11461750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426485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and Two Columns_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8D6D003-1246-E709-2DF8-74F1C8A9B5A4}"/>
              </a:ext>
            </a:extLst>
          </p:cNvPr>
          <p:cNvSpPr/>
          <p:nvPr userDrawn="1"/>
        </p:nvSpPr>
        <p:spPr>
          <a:xfrm>
            <a:off x="9303657" y="5954256"/>
            <a:ext cx="2888343" cy="903744"/>
          </a:xfrm>
          <a:prstGeom prst="rect">
            <a:avLst/>
          </a:prstGeom>
          <a:solidFill>
            <a:schemeClr val="bg1"/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dirty="0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F3BF7B5-F230-E96D-98D7-CF567A21CDD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126" y="1574800"/>
            <a:ext cx="5577840" cy="412750"/>
          </a:xfrm>
        </p:spPr>
        <p:txBody>
          <a:bodyPr/>
          <a:lstStyle>
            <a:lvl1pPr marL="0" indent="0">
              <a:buNone/>
              <a:defRPr b="1" i="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0A0F8500-D05C-9FBE-5637-930A42E9D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49036" y="1574800"/>
            <a:ext cx="5577840" cy="412750"/>
          </a:xfrm>
        </p:spPr>
        <p:txBody>
          <a:bodyPr/>
          <a:lstStyle>
            <a:lvl1pPr marL="0" indent="0">
              <a:buNone/>
              <a:defRPr b="1" i="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7">
            <a:extLst>
              <a:ext uri="{FF2B5EF4-FFF2-40B4-BE49-F238E27FC236}">
                <a16:creationId xmlns:a16="http://schemas.microsoft.com/office/drawing/2014/main" id="{C6019BB8-4236-7C60-D3CB-38266C08CF8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5126" y="2161309"/>
            <a:ext cx="5577840" cy="352829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7">
            <a:extLst>
              <a:ext uri="{FF2B5EF4-FFF2-40B4-BE49-F238E27FC236}">
                <a16:creationId xmlns:a16="http://schemas.microsoft.com/office/drawing/2014/main" id="{791413BD-FC17-1116-EEE6-F5134BDC2F3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9036" y="2161308"/>
            <a:ext cx="5577840" cy="352829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4E7A3ABF-C0C7-D3AD-1C6A-97C68F14FD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5124" y="5833872"/>
            <a:ext cx="8193024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6" name="Title Placeholder 6">
            <a:extLst>
              <a:ext uri="{FF2B5EF4-FFF2-40B4-BE49-F238E27FC236}">
                <a16:creationId xmlns:a16="http://schemas.microsoft.com/office/drawing/2014/main" id="{DAFF137C-A676-5D1F-A450-8A6E5CE517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65760"/>
            <a:ext cx="11461750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5982973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DBF1C7D-11D0-233B-4E6A-74BE1B917F1D}"/>
              </a:ext>
            </a:extLst>
          </p:cNvPr>
          <p:cNvSpPr/>
          <p:nvPr userDrawn="1"/>
        </p:nvSpPr>
        <p:spPr>
          <a:xfrm>
            <a:off x="9303657" y="5954256"/>
            <a:ext cx="2888343" cy="903744"/>
          </a:xfrm>
          <a:prstGeom prst="rect">
            <a:avLst/>
          </a:prstGeom>
          <a:solidFill>
            <a:schemeClr val="bg1"/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863911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5388557" y="979258"/>
            <a:ext cx="6800850" cy="4899660"/>
          </a:xfrm>
          <a:custGeom>
            <a:avLst/>
            <a:gdLst/>
            <a:ahLst/>
            <a:cxnLst/>
            <a:rect l="l" t="t" r="r" b="b"/>
            <a:pathLst>
              <a:path w="6800850" h="4899660">
                <a:moveTo>
                  <a:pt x="6800392" y="0"/>
                </a:moveTo>
                <a:lnTo>
                  <a:pt x="2449741" y="0"/>
                </a:lnTo>
                <a:lnTo>
                  <a:pt x="2401531" y="464"/>
                </a:lnTo>
                <a:lnTo>
                  <a:pt x="2353548" y="1853"/>
                </a:lnTo>
                <a:lnTo>
                  <a:pt x="2305800" y="4158"/>
                </a:lnTo>
                <a:lnTo>
                  <a:pt x="2258295" y="7370"/>
                </a:lnTo>
                <a:lnTo>
                  <a:pt x="2211041" y="11480"/>
                </a:lnTo>
                <a:lnTo>
                  <a:pt x="2164049" y="16481"/>
                </a:lnTo>
                <a:lnTo>
                  <a:pt x="2117325" y="22363"/>
                </a:lnTo>
                <a:lnTo>
                  <a:pt x="2070878" y="29118"/>
                </a:lnTo>
                <a:lnTo>
                  <a:pt x="2024718" y="36738"/>
                </a:lnTo>
                <a:lnTo>
                  <a:pt x="1978852" y="45213"/>
                </a:lnTo>
                <a:lnTo>
                  <a:pt x="1933289" y="54537"/>
                </a:lnTo>
                <a:lnTo>
                  <a:pt x="1888037" y="64699"/>
                </a:lnTo>
                <a:lnTo>
                  <a:pt x="1843105" y="75692"/>
                </a:lnTo>
                <a:lnTo>
                  <a:pt x="1798502" y="87506"/>
                </a:lnTo>
                <a:lnTo>
                  <a:pt x="1754235" y="100135"/>
                </a:lnTo>
                <a:lnTo>
                  <a:pt x="1710315" y="113568"/>
                </a:lnTo>
                <a:lnTo>
                  <a:pt x="1666748" y="127798"/>
                </a:lnTo>
                <a:lnTo>
                  <a:pt x="1623543" y="142816"/>
                </a:lnTo>
                <a:lnTo>
                  <a:pt x="1580710" y="158613"/>
                </a:lnTo>
                <a:lnTo>
                  <a:pt x="1538256" y="175181"/>
                </a:lnTo>
                <a:lnTo>
                  <a:pt x="1496190" y="192512"/>
                </a:lnTo>
                <a:lnTo>
                  <a:pt x="1454521" y="210597"/>
                </a:lnTo>
                <a:lnTo>
                  <a:pt x="1413256" y="229427"/>
                </a:lnTo>
                <a:lnTo>
                  <a:pt x="1372406" y="248994"/>
                </a:lnTo>
                <a:lnTo>
                  <a:pt x="1331977" y="269289"/>
                </a:lnTo>
                <a:lnTo>
                  <a:pt x="1291979" y="290304"/>
                </a:lnTo>
                <a:lnTo>
                  <a:pt x="1252420" y="312031"/>
                </a:lnTo>
                <a:lnTo>
                  <a:pt x="1213309" y="334461"/>
                </a:lnTo>
                <a:lnTo>
                  <a:pt x="1174653" y="357585"/>
                </a:lnTo>
                <a:lnTo>
                  <a:pt x="1136463" y="381394"/>
                </a:lnTo>
                <a:lnTo>
                  <a:pt x="1098745" y="405881"/>
                </a:lnTo>
                <a:lnTo>
                  <a:pt x="1061509" y="431037"/>
                </a:lnTo>
                <a:lnTo>
                  <a:pt x="1024763" y="456854"/>
                </a:lnTo>
                <a:lnTo>
                  <a:pt x="988516" y="483322"/>
                </a:lnTo>
                <a:lnTo>
                  <a:pt x="952776" y="510433"/>
                </a:lnTo>
                <a:lnTo>
                  <a:pt x="917552" y="538180"/>
                </a:lnTo>
                <a:lnTo>
                  <a:pt x="882852" y="566552"/>
                </a:lnTo>
                <a:lnTo>
                  <a:pt x="848684" y="595542"/>
                </a:lnTo>
                <a:lnTo>
                  <a:pt x="815058" y="625142"/>
                </a:lnTo>
                <a:lnTo>
                  <a:pt x="781981" y="655342"/>
                </a:lnTo>
                <a:lnTo>
                  <a:pt x="749463" y="686135"/>
                </a:lnTo>
                <a:lnTo>
                  <a:pt x="717511" y="717511"/>
                </a:lnTo>
                <a:lnTo>
                  <a:pt x="686135" y="749463"/>
                </a:lnTo>
                <a:lnTo>
                  <a:pt x="655342" y="781981"/>
                </a:lnTo>
                <a:lnTo>
                  <a:pt x="625142" y="815058"/>
                </a:lnTo>
                <a:lnTo>
                  <a:pt x="595542" y="848684"/>
                </a:lnTo>
                <a:lnTo>
                  <a:pt x="566552" y="882852"/>
                </a:lnTo>
                <a:lnTo>
                  <a:pt x="538180" y="917552"/>
                </a:lnTo>
                <a:lnTo>
                  <a:pt x="510433" y="952776"/>
                </a:lnTo>
                <a:lnTo>
                  <a:pt x="483322" y="988516"/>
                </a:lnTo>
                <a:lnTo>
                  <a:pt x="456854" y="1024763"/>
                </a:lnTo>
                <a:lnTo>
                  <a:pt x="431037" y="1061509"/>
                </a:lnTo>
                <a:lnTo>
                  <a:pt x="405881" y="1098745"/>
                </a:lnTo>
                <a:lnTo>
                  <a:pt x="381394" y="1136463"/>
                </a:lnTo>
                <a:lnTo>
                  <a:pt x="357585" y="1174653"/>
                </a:lnTo>
                <a:lnTo>
                  <a:pt x="334461" y="1213309"/>
                </a:lnTo>
                <a:lnTo>
                  <a:pt x="312031" y="1252420"/>
                </a:lnTo>
                <a:lnTo>
                  <a:pt x="290304" y="1291979"/>
                </a:lnTo>
                <a:lnTo>
                  <a:pt x="269289" y="1331977"/>
                </a:lnTo>
                <a:lnTo>
                  <a:pt x="248994" y="1372406"/>
                </a:lnTo>
                <a:lnTo>
                  <a:pt x="229427" y="1413256"/>
                </a:lnTo>
                <a:lnTo>
                  <a:pt x="210597" y="1454521"/>
                </a:lnTo>
                <a:lnTo>
                  <a:pt x="192512" y="1496190"/>
                </a:lnTo>
                <a:lnTo>
                  <a:pt x="175181" y="1538256"/>
                </a:lnTo>
                <a:lnTo>
                  <a:pt x="158613" y="1580710"/>
                </a:lnTo>
                <a:lnTo>
                  <a:pt x="142816" y="1623543"/>
                </a:lnTo>
                <a:lnTo>
                  <a:pt x="127798" y="1666748"/>
                </a:lnTo>
                <a:lnTo>
                  <a:pt x="113568" y="1710315"/>
                </a:lnTo>
                <a:lnTo>
                  <a:pt x="100135" y="1754235"/>
                </a:lnTo>
                <a:lnTo>
                  <a:pt x="87506" y="1798502"/>
                </a:lnTo>
                <a:lnTo>
                  <a:pt x="75692" y="1843105"/>
                </a:lnTo>
                <a:lnTo>
                  <a:pt x="64699" y="1888037"/>
                </a:lnTo>
                <a:lnTo>
                  <a:pt x="54537" y="1933289"/>
                </a:lnTo>
                <a:lnTo>
                  <a:pt x="45213" y="1978852"/>
                </a:lnTo>
                <a:lnTo>
                  <a:pt x="36738" y="2024718"/>
                </a:lnTo>
                <a:lnTo>
                  <a:pt x="29118" y="2070878"/>
                </a:lnTo>
                <a:lnTo>
                  <a:pt x="22363" y="2117325"/>
                </a:lnTo>
                <a:lnTo>
                  <a:pt x="16481" y="2164049"/>
                </a:lnTo>
                <a:lnTo>
                  <a:pt x="11480" y="2211041"/>
                </a:lnTo>
                <a:lnTo>
                  <a:pt x="7370" y="2258295"/>
                </a:lnTo>
                <a:lnTo>
                  <a:pt x="4158" y="2305800"/>
                </a:lnTo>
                <a:lnTo>
                  <a:pt x="1853" y="2353548"/>
                </a:lnTo>
                <a:lnTo>
                  <a:pt x="464" y="2401531"/>
                </a:lnTo>
                <a:lnTo>
                  <a:pt x="0" y="2449741"/>
                </a:lnTo>
                <a:lnTo>
                  <a:pt x="464" y="2497950"/>
                </a:lnTo>
                <a:lnTo>
                  <a:pt x="1853" y="2545933"/>
                </a:lnTo>
                <a:lnTo>
                  <a:pt x="4158" y="2593682"/>
                </a:lnTo>
                <a:lnTo>
                  <a:pt x="7370" y="2641187"/>
                </a:lnTo>
                <a:lnTo>
                  <a:pt x="11480" y="2688440"/>
                </a:lnTo>
                <a:lnTo>
                  <a:pt x="16481" y="2735432"/>
                </a:lnTo>
                <a:lnTo>
                  <a:pt x="22363" y="2782156"/>
                </a:lnTo>
                <a:lnTo>
                  <a:pt x="29118" y="2828603"/>
                </a:lnTo>
                <a:lnTo>
                  <a:pt x="36738" y="2874763"/>
                </a:lnTo>
                <a:lnTo>
                  <a:pt x="45213" y="2920629"/>
                </a:lnTo>
                <a:lnTo>
                  <a:pt x="54537" y="2966193"/>
                </a:lnTo>
                <a:lnTo>
                  <a:pt x="64699" y="3011444"/>
                </a:lnTo>
                <a:lnTo>
                  <a:pt x="75692" y="3056376"/>
                </a:lnTo>
                <a:lnTo>
                  <a:pt x="87506" y="3100979"/>
                </a:lnTo>
                <a:lnTo>
                  <a:pt x="100135" y="3145246"/>
                </a:lnTo>
                <a:lnTo>
                  <a:pt x="113568" y="3189167"/>
                </a:lnTo>
                <a:lnTo>
                  <a:pt x="127798" y="3232734"/>
                </a:lnTo>
                <a:lnTo>
                  <a:pt x="142816" y="3275938"/>
                </a:lnTo>
                <a:lnTo>
                  <a:pt x="158613" y="3318771"/>
                </a:lnTo>
                <a:lnTo>
                  <a:pt x="175181" y="3361225"/>
                </a:lnTo>
                <a:lnTo>
                  <a:pt x="192512" y="3403291"/>
                </a:lnTo>
                <a:lnTo>
                  <a:pt x="210597" y="3444960"/>
                </a:lnTo>
                <a:lnTo>
                  <a:pt x="229427" y="3486225"/>
                </a:lnTo>
                <a:lnTo>
                  <a:pt x="248994" y="3527075"/>
                </a:lnTo>
                <a:lnTo>
                  <a:pt x="269289" y="3567504"/>
                </a:lnTo>
                <a:lnTo>
                  <a:pt x="290304" y="3607502"/>
                </a:lnTo>
                <a:lnTo>
                  <a:pt x="312031" y="3647061"/>
                </a:lnTo>
                <a:lnTo>
                  <a:pt x="334461" y="3686173"/>
                </a:lnTo>
                <a:lnTo>
                  <a:pt x="357585" y="3724828"/>
                </a:lnTo>
                <a:lnTo>
                  <a:pt x="381394" y="3763019"/>
                </a:lnTo>
                <a:lnTo>
                  <a:pt x="405881" y="3800736"/>
                </a:lnTo>
                <a:lnTo>
                  <a:pt x="431037" y="3837972"/>
                </a:lnTo>
                <a:lnTo>
                  <a:pt x="456854" y="3874718"/>
                </a:lnTo>
                <a:lnTo>
                  <a:pt x="483322" y="3910965"/>
                </a:lnTo>
                <a:lnTo>
                  <a:pt x="510433" y="3946705"/>
                </a:lnTo>
                <a:lnTo>
                  <a:pt x="538180" y="3981929"/>
                </a:lnTo>
                <a:lnTo>
                  <a:pt x="566552" y="4016630"/>
                </a:lnTo>
                <a:lnTo>
                  <a:pt x="595542" y="4050797"/>
                </a:lnTo>
                <a:lnTo>
                  <a:pt x="625142" y="4084423"/>
                </a:lnTo>
                <a:lnTo>
                  <a:pt x="655342" y="4117500"/>
                </a:lnTo>
                <a:lnTo>
                  <a:pt x="686135" y="4150018"/>
                </a:lnTo>
                <a:lnTo>
                  <a:pt x="717511" y="4181970"/>
                </a:lnTo>
                <a:lnTo>
                  <a:pt x="749463" y="4213346"/>
                </a:lnTo>
                <a:lnTo>
                  <a:pt x="781981" y="4244139"/>
                </a:lnTo>
                <a:lnTo>
                  <a:pt x="815058" y="4274339"/>
                </a:lnTo>
                <a:lnTo>
                  <a:pt x="848684" y="4303939"/>
                </a:lnTo>
                <a:lnTo>
                  <a:pt x="882852" y="4332929"/>
                </a:lnTo>
                <a:lnTo>
                  <a:pt x="917552" y="4361302"/>
                </a:lnTo>
                <a:lnTo>
                  <a:pt x="952776" y="4389048"/>
                </a:lnTo>
                <a:lnTo>
                  <a:pt x="988516" y="4416159"/>
                </a:lnTo>
                <a:lnTo>
                  <a:pt x="1024763" y="4442627"/>
                </a:lnTo>
                <a:lnTo>
                  <a:pt x="1061509" y="4468444"/>
                </a:lnTo>
                <a:lnTo>
                  <a:pt x="1098745" y="4493600"/>
                </a:lnTo>
                <a:lnTo>
                  <a:pt x="1136463" y="4518087"/>
                </a:lnTo>
                <a:lnTo>
                  <a:pt x="1174653" y="4541897"/>
                </a:lnTo>
                <a:lnTo>
                  <a:pt x="1213309" y="4565021"/>
                </a:lnTo>
                <a:lnTo>
                  <a:pt x="1252420" y="4587450"/>
                </a:lnTo>
                <a:lnTo>
                  <a:pt x="1291979" y="4609177"/>
                </a:lnTo>
                <a:lnTo>
                  <a:pt x="1331977" y="4630192"/>
                </a:lnTo>
                <a:lnTo>
                  <a:pt x="1372406" y="4650487"/>
                </a:lnTo>
                <a:lnTo>
                  <a:pt x="1413256" y="4670054"/>
                </a:lnTo>
                <a:lnTo>
                  <a:pt x="1454521" y="4688885"/>
                </a:lnTo>
                <a:lnTo>
                  <a:pt x="1496190" y="4706969"/>
                </a:lnTo>
                <a:lnTo>
                  <a:pt x="1538256" y="4724300"/>
                </a:lnTo>
                <a:lnTo>
                  <a:pt x="1580710" y="4740868"/>
                </a:lnTo>
                <a:lnTo>
                  <a:pt x="1623543" y="4756665"/>
                </a:lnTo>
                <a:lnTo>
                  <a:pt x="1666748" y="4771683"/>
                </a:lnTo>
                <a:lnTo>
                  <a:pt x="1710315" y="4785913"/>
                </a:lnTo>
                <a:lnTo>
                  <a:pt x="1754235" y="4799346"/>
                </a:lnTo>
                <a:lnTo>
                  <a:pt x="1798502" y="4811975"/>
                </a:lnTo>
                <a:lnTo>
                  <a:pt x="1843105" y="4823790"/>
                </a:lnTo>
                <a:lnTo>
                  <a:pt x="1888037" y="4834782"/>
                </a:lnTo>
                <a:lnTo>
                  <a:pt x="1933289" y="4844945"/>
                </a:lnTo>
                <a:lnTo>
                  <a:pt x="1978852" y="4854268"/>
                </a:lnTo>
                <a:lnTo>
                  <a:pt x="2024718" y="4862744"/>
                </a:lnTo>
                <a:lnTo>
                  <a:pt x="2070878" y="4870363"/>
                </a:lnTo>
                <a:lnTo>
                  <a:pt x="2117325" y="4877118"/>
                </a:lnTo>
                <a:lnTo>
                  <a:pt x="2164049" y="4883001"/>
                </a:lnTo>
                <a:lnTo>
                  <a:pt x="2211041" y="4888001"/>
                </a:lnTo>
                <a:lnTo>
                  <a:pt x="2258295" y="4892111"/>
                </a:lnTo>
                <a:lnTo>
                  <a:pt x="2305800" y="4895323"/>
                </a:lnTo>
                <a:lnTo>
                  <a:pt x="2353548" y="4897628"/>
                </a:lnTo>
                <a:lnTo>
                  <a:pt x="2401531" y="4899017"/>
                </a:lnTo>
                <a:lnTo>
                  <a:pt x="2449741" y="4899482"/>
                </a:lnTo>
                <a:lnTo>
                  <a:pt x="6800392" y="4899482"/>
                </a:lnTo>
                <a:lnTo>
                  <a:pt x="6800392" y="0"/>
                </a:lnTo>
                <a:close/>
              </a:path>
            </a:pathLst>
          </a:custGeom>
          <a:solidFill>
            <a:srgbClr val="0080C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600" b="0" i="0">
                <a:solidFill>
                  <a:srgbClr val="58595B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808001" y="1545927"/>
            <a:ext cx="4307840" cy="3683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000" b="1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024-05-16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20399" y="455869"/>
            <a:ext cx="924011" cy="238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2719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_Gradient">
    <p:bg>
      <p:bgPr>
        <a:gradFill>
          <a:gsLst>
            <a:gs pos="0">
              <a:schemeClr val="accent2"/>
            </a:gs>
            <a:gs pos="39000">
              <a:srgbClr val="0090D4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2313432"/>
            <a:ext cx="10645775" cy="13231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3900" b="0" spc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D803154-09E7-7D60-B2A0-43C37AAF8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67450" r="17"/>
          <a:stretch/>
        </p:blipFill>
        <p:spPr>
          <a:xfrm>
            <a:off x="0" y="4865946"/>
            <a:ext cx="7164224" cy="1262331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C5063FC6-958F-F3EE-052E-38ECFC7FD16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  <p:sp>
        <p:nvSpPr>
          <p:cNvPr id="3" name="Text Box 5">
            <a:extLst>
              <a:ext uri="{FF2B5EF4-FFF2-40B4-BE49-F238E27FC236}">
                <a16:creationId xmlns:a16="http://schemas.microsoft.com/office/drawing/2014/main" id="{C00BF1EC-A877-D2C1-BA8F-31255CBFC6A3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274628" y="6550227"/>
            <a:ext cx="2042547" cy="307777"/>
          </a:xfrm>
          <a:prstGeom prst="rect">
            <a:avLst/>
          </a:prstGeom>
          <a:noFill/>
          <a:ln w="76200" algn="ctr">
            <a:noFill/>
            <a:miter lim="800000"/>
            <a:headEnd/>
            <a:tailEnd/>
          </a:ln>
        </p:spPr>
        <p:txBody>
          <a:bodyPr wrap="none" lIns="91440" tIns="91440" rIns="91440" bIns="91440" anchor="b">
            <a:spAutoFit/>
          </a:bodyPr>
          <a:lstStyle/>
          <a:p>
            <a:pPr>
              <a:tabLst>
                <a:tab pos="4572000" algn="ctr"/>
                <a:tab pos="8964613" algn="r"/>
              </a:tabLst>
              <a:defRPr/>
            </a:pPr>
            <a:r>
              <a:rPr lang="en-US" sz="8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Amgen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40198565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_Amge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2313432"/>
            <a:ext cx="10645775" cy="13231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3900" b="0" spc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D803154-09E7-7D60-B2A0-43C37AAF8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7453" t="-124" r="31" b="124"/>
          <a:stretch/>
        </p:blipFill>
        <p:spPr>
          <a:xfrm>
            <a:off x="0" y="4864608"/>
            <a:ext cx="7159752" cy="1261872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08ECA461-0B56-34C2-12A1-F9FA61D9929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1269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_Sk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2313432"/>
            <a:ext cx="10645775" cy="13231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3900" b="0" spc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Graphic 4">
            <a:extLst>
              <a:ext uri="{FF2B5EF4-FFF2-40B4-BE49-F238E27FC236}">
                <a16:creationId xmlns:a16="http://schemas.microsoft.com/office/drawing/2014/main" id="{E65B6354-97AF-5957-C7F2-00BE94BD3F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7453" t="-124" r="31" b="124"/>
          <a:stretch/>
        </p:blipFill>
        <p:spPr>
          <a:xfrm>
            <a:off x="0" y="4864608"/>
            <a:ext cx="7159752" cy="1261872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1C1D202B-A253-38C5-CE70-C8B6EC0EEF0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48491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Outline_Gradient">
    <p:bg>
      <p:bgPr>
        <a:gradFill>
          <a:gsLst>
            <a:gs pos="0">
              <a:schemeClr val="accent2"/>
            </a:gs>
            <a:gs pos="39000">
              <a:srgbClr val="0090D4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82FF47D6-89C2-ABE6-B6D8-5558BDE456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716" r="6055"/>
          <a:stretch/>
        </p:blipFill>
        <p:spPr>
          <a:xfrm>
            <a:off x="0" y="1555006"/>
            <a:ext cx="12201553" cy="29260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9576" y="2313432"/>
            <a:ext cx="10645775" cy="13231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3900" b="0" spc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BCC669-489B-0220-682D-D288C3D2668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79364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Outline_Amge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82FF47D6-89C2-ABE6-B6D8-5558BDE456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716" r="6055"/>
          <a:stretch/>
        </p:blipFill>
        <p:spPr>
          <a:xfrm>
            <a:off x="0" y="1555006"/>
            <a:ext cx="12201553" cy="29260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9576" y="2313432"/>
            <a:ext cx="10645775" cy="13231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3900" b="0" spc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93C3D1E-B2ED-A612-DA14-6C361948743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44673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Outline_Sk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82FF47D6-89C2-ABE6-B6D8-5558BDE456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716" r="6055"/>
          <a:stretch/>
        </p:blipFill>
        <p:spPr>
          <a:xfrm>
            <a:off x="0" y="1555006"/>
            <a:ext cx="12201553" cy="29260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9576" y="2313432"/>
            <a:ext cx="10645775" cy="13231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3900" b="0" spc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473AA82-ECE0-F7A5-E289-AFE8B58AF71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223837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Outlin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5C171C62-B9E9-6582-342F-9D93DA0990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716" r="6055"/>
          <a:stretch/>
        </p:blipFill>
        <p:spPr>
          <a:xfrm>
            <a:off x="0" y="1555006"/>
            <a:ext cx="12201553" cy="29260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9576" y="2313432"/>
            <a:ext cx="10645775" cy="13231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3900" b="0" spc="0" baseline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B1B675B-EC78-2DF2-E93B-69BFD8267FD2}"/>
              </a:ext>
            </a:extLst>
          </p:cNvPr>
          <p:cNvSpPr/>
          <p:nvPr userDrawn="1"/>
        </p:nvSpPr>
        <p:spPr>
          <a:xfrm>
            <a:off x="12192000" y="0"/>
            <a:ext cx="2842591" cy="6858000"/>
          </a:xfrm>
          <a:prstGeom prst="rect">
            <a:avLst/>
          </a:prstGeom>
          <a:solidFill>
            <a:srgbClr val="ECECEC"/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4CB53F91-31AF-F0AA-72F9-1922F70D031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790835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Outline2_Gradient">
    <p:bg>
      <p:bgPr>
        <a:gradFill>
          <a:gsLst>
            <a:gs pos="0">
              <a:schemeClr val="accent2"/>
            </a:gs>
            <a:gs pos="39000">
              <a:srgbClr val="0090D4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248C15B1-698D-0DD2-BE1E-2358E7DD13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422" t="-61" r="-8" b="158"/>
          <a:stretch/>
        </p:blipFill>
        <p:spPr>
          <a:xfrm>
            <a:off x="0" y="749808"/>
            <a:ext cx="11475720" cy="37307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9576" y="2313432"/>
            <a:ext cx="7369175" cy="13231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3900" b="0" spc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4597D7E-D1C1-EAE1-64A8-318B79FEBAE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478888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Outline2_Amge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248C15B1-698D-0DD2-BE1E-2358E7DD13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422" t="-61" r="-8" b="158"/>
          <a:stretch/>
        </p:blipFill>
        <p:spPr>
          <a:xfrm>
            <a:off x="0" y="749808"/>
            <a:ext cx="11475720" cy="37307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9576" y="2313432"/>
            <a:ext cx="7369175" cy="13231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3900" b="0" spc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E64CB2D-D499-13BE-859F-0D4A7451CB8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9371530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Outline2_Sk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248C15B1-698D-0DD2-BE1E-2358E7DD13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422" t="-61" r="-8" b="158"/>
          <a:stretch/>
        </p:blipFill>
        <p:spPr>
          <a:xfrm>
            <a:off x="0" y="749808"/>
            <a:ext cx="11475720" cy="37307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9576" y="2313432"/>
            <a:ext cx="7369175" cy="13231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3900" b="0" spc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DB9FF05-D2C1-46C4-831A-32EB5C9F49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27278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5412600"/>
            <a:ext cx="12188951" cy="1445399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12188951" cy="455666"/>
          </a:xfrm>
          <a:prstGeom prst="rect">
            <a:avLst/>
          </a:prstGeom>
        </p:spPr>
      </p:pic>
      <p:sp>
        <p:nvSpPr>
          <p:cNvPr id="18" name="bg object 18"/>
          <p:cNvSpPr/>
          <p:nvPr/>
        </p:nvSpPr>
        <p:spPr>
          <a:xfrm>
            <a:off x="5388558" y="979258"/>
            <a:ext cx="6800850" cy="4899660"/>
          </a:xfrm>
          <a:custGeom>
            <a:avLst/>
            <a:gdLst/>
            <a:ahLst/>
            <a:cxnLst/>
            <a:rect l="l" t="t" r="r" b="b"/>
            <a:pathLst>
              <a:path w="6800850" h="4899660">
                <a:moveTo>
                  <a:pt x="6800392" y="0"/>
                </a:moveTo>
                <a:lnTo>
                  <a:pt x="2449741" y="0"/>
                </a:lnTo>
                <a:lnTo>
                  <a:pt x="2401531" y="464"/>
                </a:lnTo>
                <a:lnTo>
                  <a:pt x="2353548" y="1853"/>
                </a:lnTo>
                <a:lnTo>
                  <a:pt x="2305800" y="4158"/>
                </a:lnTo>
                <a:lnTo>
                  <a:pt x="2258295" y="7370"/>
                </a:lnTo>
                <a:lnTo>
                  <a:pt x="2211041" y="11480"/>
                </a:lnTo>
                <a:lnTo>
                  <a:pt x="2164049" y="16481"/>
                </a:lnTo>
                <a:lnTo>
                  <a:pt x="2117325" y="22363"/>
                </a:lnTo>
                <a:lnTo>
                  <a:pt x="2070878" y="29118"/>
                </a:lnTo>
                <a:lnTo>
                  <a:pt x="2024718" y="36738"/>
                </a:lnTo>
                <a:lnTo>
                  <a:pt x="1978852" y="45213"/>
                </a:lnTo>
                <a:lnTo>
                  <a:pt x="1933289" y="54537"/>
                </a:lnTo>
                <a:lnTo>
                  <a:pt x="1888037" y="64699"/>
                </a:lnTo>
                <a:lnTo>
                  <a:pt x="1843105" y="75692"/>
                </a:lnTo>
                <a:lnTo>
                  <a:pt x="1798502" y="87506"/>
                </a:lnTo>
                <a:lnTo>
                  <a:pt x="1754235" y="100135"/>
                </a:lnTo>
                <a:lnTo>
                  <a:pt x="1710315" y="113568"/>
                </a:lnTo>
                <a:lnTo>
                  <a:pt x="1666748" y="127798"/>
                </a:lnTo>
                <a:lnTo>
                  <a:pt x="1623543" y="142816"/>
                </a:lnTo>
                <a:lnTo>
                  <a:pt x="1580710" y="158613"/>
                </a:lnTo>
                <a:lnTo>
                  <a:pt x="1538256" y="175181"/>
                </a:lnTo>
                <a:lnTo>
                  <a:pt x="1496190" y="192512"/>
                </a:lnTo>
                <a:lnTo>
                  <a:pt x="1454521" y="210597"/>
                </a:lnTo>
                <a:lnTo>
                  <a:pt x="1413256" y="229427"/>
                </a:lnTo>
                <a:lnTo>
                  <a:pt x="1372406" y="248994"/>
                </a:lnTo>
                <a:lnTo>
                  <a:pt x="1331977" y="269289"/>
                </a:lnTo>
                <a:lnTo>
                  <a:pt x="1291979" y="290304"/>
                </a:lnTo>
                <a:lnTo>
                  <a:pt x="1252420" y="312031"/>
                </a:lnTo>
                <a:lnTo>
                  <a:pt x="1213309" y="334461"/>
                </a:lnTo>
                <a:lnTo>
                  <a:pt x="1174653" y="357585"/>
                </a:lnTo>
                <a:lnTo>
                  <a:pt x="1136463" y="381394"/>
                </a:lnTo>
                <a:lnTo>
                  <a:pt x="1098745" y="405881"/>
                </a:lnTo>
                <a:lnTo>
                  <a:pt x="1061509" y="431037"/>
                </a:lnTo>
                <a:lnTo>
                  <a:pt x="1024763" y="456854"/>
                </a:lnTo>
                <a:lnTo>
                  <a:pt x="988516" y="483322"/>
                </a:lnTo>
                <a:lnTo>
                  <a:pt x="952776" y="510433"/>
                </a:lnTo>
                <a:lnTo>
                  <a:pt x="917552" y="538180"/>
                </a:lnTo>
                <a:lnTo>
                  <a:pt x="882852" y="566552"/>
                </a:lnTo>
                <a:lnTo>
                  <a:pt x="848684" y="595542"/>
                </a:lnTo>
                <a:lnTo>
                  <a:pt x="815058" y="625142"/>
                </a:lnTo>
                <a:lnTo>
                  <a:pt x="781981" y="655342"/>
                </a:lnTo>
                <a:lnTo>
                  <a:pt x="749463" y="686135"/>
                </a:lnTo>
                <a:lnTo>
                  <a:pt x="717511" y="717511"/>
                </a:lnTo>
                <a:lnTo>
                  <a:pt x="686135" y="749463"/>
                </a:lnTo>
                <a:lnTo>
                  <a:pt x="655342" y="781981"/>
                </a:lnTo>
                <a:lnTo>
                  <a:pt x="625142" y="815058"/>
                </a:lnTo>
                <a:lnTo>
                  <a:pt x="595542" y="848684"/>
                </a:lnTo>
                <a:lnTo>
                  <a:pt x="566552" y="882852"/>
                </a:lnTo>
                <a:lnTo>
                  <a:pt x="538180" y="917552"/>
                </a:lnTo>
                <a:lnTo>
                  <a:pt x="510433" y="952776"/>
                </a:lnTo>
                <a:lnTo>
                  <a:pt x="483322" y="988516"/>
                </a:lnTo>
                <a:lnTo>
                  <a:pt x="456854" y="1024763"/>
                </a:lnTo>
                <a:lnTo>
                  <a:pt x="431037" y="1061509"/>
                </a:lnTo>
                <a:lnTo>
                  <a:pt x="405881" y="1098745"/>
                </a:lnTo>
                <a:lnTo>
                  <a:pt x="381394" y="1136463"/>
                </a:lnTo>
                <a:lnTo>
                  <a:pt x="357585" y="1174653"/>
                </a:lnTo>
                <a:lnTo>
                  <a:pt x="334461" y="1213309"/>
                </a:lnTo>
                <a:lnTo>
                  <a:pt x="312031" y="1252420"/>
                </a:lnTo>
                <a:lnTo>
                  <a:pt x="290304" y="1291979"/>
                </a:lnTo>
                <a:lnTo>
                  <a:pt x="269289" y="1331977"/>
                </a:lnTo>
                <a:lnTo>
                  <a:pt x="248994" y="1372406"/>
                </a:lnTo>
                <a:lnTo>
                  <a:pt x="229427" y="1413256"/>
                </a:lnTo>
                <a:lnTo>
                  <a:pt x="210597" y="1454521"/>
                </a:lnTo>
                <a:lnTo>
                  <a:pt x="192512" y="1496190"/>
                </a:lnTo>
                <a:lnTo>
                  <a:pt x="175181" y="1538256"/>
                </a:lnTo>
                <a:lnTo>
                  <a:pt x="158613" y="1580710"/>
                </a:lnTo>
                <a:lnTo>
                  <a:pt x="142816" y="1623543"/>
                </a:lnTo>
                <a:lnTo>
                  <a:pt x="127798" y="1666748"/>
                </a:lnTo>
                <a:lnTo>
                  <a:pt x="113568" y="1710315"/>
                </a:lnTo>
                <a:lnTo>
                  <a:pt x="100135" y="1754235"/>
                </a:lnTo>
                <a:lnTo>
                  <a:pt x="87506" y="1798502"/>
                </a:lnTo>
                <a:lnTo>
                  <a:pt x="75692" y="1843105"/>
                </a:lnTo>
                <a:lnTo>
                  <a:pt x="64699" y="1888037"/>
                </a:lnTo>
                <a:lnTo>
                  <a:pt x="54537" y="1933289"/>
                </a:lnTo>
                <a:lnTo>
                  <a:pt x="45213" y="1978852"/>
                </a:lnTo>
                <a:lnTo>
                  <a:pt x="36738" y="2024718"/>
                </a:lnTo>
                <a:lnTo>
                  <a:pt x="29118" y="2070878"/>
                </a:lnTo>
                <a:lnTo>
                  <a:pt x="22363" y="2117325"/>
                </a:lnTo>
                <a:lnTo>
                  <a:pt x="16481" y="2164049"/>
                </a:lnTo>
                <a:lnTo>
                  <a:pt x="11480" y="2211041"/>
                </a:lnTo>
                <a:lnTo>
                  <a:pt x="7370" y="2258295"/>
                </a:lnTo>
                <a:lnTo>
                  <a:pt x="4158" y="2305800"/>
                </a:lnTo>
                <a:lnTo>
                  <a:pt x="1853" y="2353548"/>
                </a:lnTo>
                <a:lnTo>
                  <a:pt x="464" y="2401531"/>
                </a:lnTo>
                <a:lnTo>
                  <a:pt x="0" y="2449741"/>
                </a:lnTo>
                <a:lnTo>
                  <a:pt x="464" y="2497950"/>
                </a:lnTo>
                <a:lnTo>
                  <a:pt x="1853" y="2545933"/>
                </a:lnTo>
                <a:lnTo>
                  <a:pt x="4158" y="2593682"/>
                </a:lnTo>
                <a:lnTo>
                  <a:pt x="7370" y="2641187"/>
                </a:lnTo>
                <a:lnTo>
                  <a:pt x="11480" y="2688440"/>
                </a:lnTo>
                <a:lnTo>
                  <a:pt x="16481" y="2735432"/>
                </a:lnTo>
                <a:lnTo>
                  <a:pt x="22363" y="2782156"/>
                </a:lnTo>
                <a:lnTo>
                  <a:pt x="29118" y="2828603"/>
                </a:lnTo>
                <a:lnTo>
                  <a:pt x="36738" y="2874763"/>
                </a:lnTo>
                <a:lnTo>
                  <a:pt x="45213" y="2920629"/>
                </a:lnTo>
                <a:lnTo>
                  <a:pt x="54537" y="2966193"/>
                </a:lnTo>
                <a:lnTo>
                  <a:pt x="64699" y="3011444"/>
                </a:lnTo>
                <a:lnTo>
                  <a:pt x="75692" y="3056376"/>
                </a:lnTo>
                <a:lnTo>
                  <a:pt x="87506" y="3100979"/>
                </a:lnTo>
                <a:lnTo>
                  <a:pt x="100135" y="3145246"/>
                </a:lnTo>
                <a:lnTo>
                  <a:pt x="113568" y="3189167"/>
                </a:lnTo>
                <a:lnTo>
                  <a:pt x="127798" y="3232734"/>
                </a:lnTo>
                <a:lnTo>
                  <a:pt x="142816" y="3275938"/>
                </a:lnTo>
                <a:lnTo>
                  <a:pt x="158613" y="3318771"/>
                </a:lnTo>
                <a:lnTo>
                  <a:pt x="175181" y="3361225"/>
                </a:lnTo>
                <a:lnTo>
                  <a:pt x="192512" y="3403291"/>
                </a:lnTo>
                <a:lnTo>
                  <a:pt x="210597" y="3444960"/>
                </a:lnTo>
                <a:lnTo>
                  <a:pt x="229427" y="3486225"/>
                </a:lnTo>
                <a:lnTo>
                  <a:pt x="248994" y="3527075"/>
                </a:lnTo>
                <a:lnTo>
                  <a:pt x="269289" y="3567504"/>
                </a:lnTo>
                <a:lnTo>
                  <a:pt x="290304" y="3607502"/>
                </a:lnTo>
                <a:lnTo>
                  <a:pt x="312031" y="3647061"/>
                </a:lnTo>
                <a:lnTo>
                  <a:pt x="334461" y="3686173"/>
                </a:lnTo>
                <a:lnTo>
                  <a:pt x="357585" y="3724828"/>
                </a:lnTo>
                <a:lnTo>
                  <a:pt x="381394" y="3763019"/>
                </a:lnTo>
                <a:lnTo>
                  <a:pt x="405881" y="3800736"/>
                </a:lnTo>
                <a:lnTo>
                  <a:pt x="431037" y="3837972"/>
                </a:lnTo>
                <a:lnTo>
                  <a:pt x="456854" y="3874718"/>
                </a:lnTo>
                <a:lnTo>
                  <a:pt x="483322" y="3910965"/>
                </a:lnTo>
                <a:lnTo>
                  <a:pt x="510433" y="3946705"/>
                </a:lnTo>
                <a:lnTo>
                  <a:pt x="538180" y="3981929"/>
                </a:lnTo>
                <a:lnTo>
                  <a:pt x="566552" y="4016630"/>
                </a:lnTo>
                <a:lnTo>
                  <a:pt x="595542" y="4050797"/>
                </a:lnTo>
                <a:lnTo>
                  <a:pt x="625142" y="4084423"/>
                </a:lnTo>
                <a:lnTo>
                  <a:pt x="655342" y="4117500"/>
                </a:lnTo>
                <a:lnTo>
                  <a:pt x="686135" y="4150018"/>
                </a:lnTo>
                <a:lnTo>
                  <a:pt x="717511" y="4181970"/>
                </a:lnTo>
                <a:lnTo>
                  <a:pt x="749463" y="4213346"/>
                </a:lnTo>
                <a:lnTo>
                  <a:pt x="781981" y="4244139"/>
                </a:lnTo>
                <a:lnTo>
                  <a:pt x="815058" y="4274339"/>
                </a:lnTo>
                <a:lnTo>
                  <a:pt x="848684" y="4303939"/>
                </a:lnTo>
                <a:lnTo>
                  <a:pt x="882852" y="4332929"/>
                </a:lnTo>
                <a:lnTo>
                  <a:pt x="917552" y="4361302"/>
                </a:lnTo>
                <a:lnTo>
                  <a:pt x="952776" y="4389048"/>
                </a:lnTo>
                <a:lnTo>
                  <a:pt x="988516" y="4416159"/>
                </a:lnTo>
                <a:lnTo>
                  <a:pt x="1024763" y="4442627"/>
                </a:lnTo>
                <a:lnTo>
                  <a:pt x="1061509" y="4468444"/>
                </a:lnTo>
                <a:lnTo>
                  <a:pt x="1098745" y="4493600"/>
                </a:lnTo>
                <a:lnTo>
                  <a:pt x="1136463" y="4518087"/>
                </a:lnTo>
                <a:lnTo>
                  <a:pt x="1174653" y="4541897"/>
                </a:lnTo>
                <a:lnTo>
                  <a:pt x="1213309" y="4565021"/>
                </a:lnTo>
                <a:lnTo>
                  <a:pt x="1252420" y="4587450"/>
                </a:lnTo>
                <a:lnTo>
                  <a:pt x="1291979" y="4609177"/>
                </a:lnTo>
                <a:lnTo>
                  <a:pt x="1331977" y="4630192"/>
                </a:lnTo>
                <a:lnTo>
                  <a:pt x="1372406" y="4650487"/>
                </a:lnTo>
                <a:lnTo>
                  <a:pt x="1413256" y="4670054"/>
                </a:lnTo>
                <a:lnTo>
                  <a:pt x="1454521" y="4688885"/>
                </a:lnTo>
                <a:lnTo>
                  <a:pt x="1496190" y="4706969"/>
                </a:lnTo>
                <a:lnTo>
                  <a:pt x="1538256" y="4724300"/>
                </a:lnTo>
                <a:lnTo>
                  <a:pt x="1580710" y="4740868"/>
                </a:lnTo>
                <a:lnTo>
                  <a:pt x="1623543" y="4756665"/>
                </a:lnTo>
                <a:lnTo>
                  <a:pt x="1666748" y="4771683"/>
                </a:lnTo>
                <a:lnTo>
                  <a:pt x="1710315" y="4785913"/>
                </a:lnTo>
                <a:lnTo>
                  <a:pt x="1754235" y="4799346"/>
                </a:lnTo>
                <a:lnTo>
                  <a:pt x="1798502" y="4811975"/>
                </a:lnTo>
                <a:lnTo>
                  <a:pt x="1843105" y="4823790"/>
                </a:lnTo>
                <a:lnTo>
                  <a:pt x="1888037" y="4834782"/>
                </a:lnTo>
                <a:lnTo>
                  <a:pt x="1933289" y="4844945"/>
                </a:lnTo>
                <a:lnTo>
                  <a:pt x="1978852" y="4854268"/>
                </a:lnTo>
                <a:lnTo>
                  <a:pt x="2024718" y="4862744"/>
                </a:lnTo>
                <a:lnTo>
                  <a:pt x="2070878" y="4870363"/>
                </a:lnTo>
                <a:lnTo>
                  <a:pt x="2117325" y="4877118"/>
                </a:lnTo>
                <a:lnTo>
                  <a:pt x="2164049" y="4883001"/>
                </a:lnTo>
                <a:lnTo>
                  <a:pt x="2211041" y="4888001"/>
                </a:lnTo>
                <a:lnTo>
                  <a:pt x="2258295" y="4892111"/>
                </a:lnTo>
                <a:lnTo>
                  <a:pt x="2305800" y="4895323"/>
                </a:lnTo>
                <a:lnTo>
                  <a:pt x="2353548" y="4897628"/>
                </a:lnTo>
                <a:lnTo>
                  <a:pt x="2401531" y="4899017"/>
                </a:lnTo>
                <a:lnTo>
                  <a:pt x="2449741" y="4899482"/>
                </a:lnTo>
                <a:lnTo>
                  <a:pt x="6800392" y="4899482"/>
                </a:lnTo>
                <a:lnTo>
                  <a:pt x="6800392" y="0"/>
                </a:lnTo>
                <a:close/>
              </a:path>
            </a:pathLst>
          </a:custGeom>
          <a:solidFill>
            <a:srgbClr val="0080C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g object 19"/>
          <p:cNvSpPr/>
          <p:nvPr/>
        </p:nvSpPr>
        <p:spPr>
          <a:xfrm>
            <a:off x="6881711" y="1838385"/>
            <a:ext cx="3173095" cy="3173095"/>
          </a:xfrm>
          <a:custGeom>
            <a:avLst/>
            <a:gdLst/>
            <a:ahLst/>
            <a:cxnLst/>
            <a:rect l="l" t="t" r="r" b="b"/>
            <a:pathLst>
              <a:path w="3173095" h="3173095">
                <a:moveTo>
                  <a:pt x="1586357" y="0"/>
                </a:moveTo>
                <a:lnTo>
                  <a:pt x="1537857" y="727"/>
                </a:lnTo>
                <a:lnTo>
                  <a:pt x="1489720" y="2895"/>
                </a:lnTo>
                <a:lnTo>
                  <a:pt x="1441965" y="6482"/>
                </a:lnTo>
                <a:lnTo>
                  <a:pt x="1394615" y="11469"/>
                </a:lnTo>
                <a:lnTo>
                  <a:pt x="1347688" y="17835"/>
                </a:lnTo>
                <a:lnTo>
                  <a:pt x="1301206" y="25558"/>
                </a:lnTo>
                <a:lnTo>
                  <a:pt x="1255191" y="34618"/>
                </a:lnTo>
                <a:lnTo>
                  <a:pt x="1209661" y="44994"/>
                </a:lnTo>
                <a:lnTo>
                  <a:pt x="1164639" y="56666"/>
                </a:lnTo>
                <a:lnTo>
                  <a:pt x="1120146" y="69612"/>
                </a:lnTo>
                <a:lnTo>
                  <a:pt x="1076200" y="83812"/>
                </a:lnTo>
                <a:lnTo>
                  <a:pt x="1032825" y="99246"/>
                </a:lnTo>
                <a:lnTo>
                  <a:pt x="990039" y="115892"/>
                </a:lnTo>
                <a:lnTo>
                  <a:pt x="947865" y="133730"/>
                </a:lnTo>
                <a:lnTo>
                  <a:pt x="906322" y="152738"/>
                </a:lnTo>
                <a:lnTo>
                  <a:pt x="865431" y="172898"/>
                </a:lnTo>
                <a:lnTo>
                  <a:pt x="825214" y="194186"/>
                </a:lnTo>
                <a:lnTo>
                  <a:pt x="785691" y="216583"/>
                </a:lnTo>
                <a:lnTo>
                  <a:pt x="746883" y="240069"/>
                </a:lnTo>
                <a:lnTo>
                  <a:pt x="708810" y="264621"/>
                </a:lnTo>
                <a:lnTo>
                  <a:pt x="671493" y="290221"/>
                </a:lnTo>
                <a:lnTo>
                  <a:pt x="634953" y="316846"/>
                </a:lnTo>
                <a:lnTo>
                  <a:pt x="599210" y="344476"/>
                </a:lnTo>
                <a:lnTo>
                  <a:pt x="564286" y="373090"/>
                </a:lnTo>
                <a:lnTo>
                  <a:pt x="530201" y="402668"/>
                </a:lnTo>
                <a:lnTo>
                  <a:pt x="496977" y="433189"/>
                </a:lnTo>
                <a:lnTo>
                  <a:pt x="464632" y="464632"/>
                </a:lnTo>
                <a:lnTo>
                  <a:pt x="433189" y="496977"/>
                </a:lnTo>
                <a:lnTo>
                  <a:pt x="402668" y="530201"/>
                </a:lnTo>
                <a:lnTo>
                  <a:pt x="373090" y="564286"/>
                </a:lnTo>
                <a:lnTo>
                  <a:pt x="344476" y="599210"/>
                </a:lnTo>
                <a:lnTo>
                  <a:pt x="316846" y="634953"/>
                </a:lnTo>
                <a:lnTo>
                  <a:pt x="290221" y="671493"/>
                </a:lnTo>
                <a:lnTo>
                  <a:pt x="264621" y="708810"/>
                </a:lnTo>
                <a:lnTo>
                  <a:pt x="240069" y="746883"/>
                </a:lnTo>
                <a:lnTo>
                  <a:pt x="216583" y="785691"/>
                </a:lnTo>
                <a:lnTo>
                  <a:pt x="194186" y="825214"/>
                </a:lnTo>
                <a:lnTo>
                  <a:pt x="172898" y="865431"/>
                </a:lnTo>
                <a:lnTo>
                  <a:pt x="152738" y="906322"/>
                </a:lnTo>
                <a:lnTo>
                  <a:pt x="133730" y="947865"/>
                </a:lnTo>
                <a:lnTo>
                  <a:pt x="115892" y="990039"/>
                </a:lnTo>
                <a:lnTo>
                  <a:pt x="99246" y="1032825"/>
                </a:lnTo>
                <a:lnTo>
                  <a:pt x="83812" y="1076200"/>
                </a:lnTo>
                <a:lnTo>
                  <a:pt x="69612" y="1120146"/>
                </a:lnTo>
                <a:lnTo>
                  <a:pt x="56666" y="1164639"/>
                </a:lnTo>
                <a:lnTo>
                  <a:pt x="44994" y="1209661"/>
                </a:lnTo>
                <a:lnTo>
                  <a:pt x="34618" y="1255191"/>
                </a:lnTo>
                <a:lnTo>
                  <a:pt x="25558" y="1301206"/>
                </a:lnTo>
                <a:lnTo>
                  <a:pt x="17835" y="1347688"/>
                </a:lnTo>
                <a:lnTo>
                  <a:pt x="11469" y="1394615"/>
                </a:lnTo>
                <a:lnTo>
                  <a:pt x="6482" y="1441965"/>
                </a:lnTo>
                <a:lnTo>
                  <a:pt x="2895" y="1489720"/>
                </a:lnTo>
                <a:lnTo>
                  <a:pt x="727" y="1537857"/>
                </a:lnTo>
                <a:lnTo>
                  <a:pt x="0" y="1586356"/>
                </a:lnTo>
                <a:lnTo>
                  <a:pt x="727" y="1634856"/>
                </a:lnTo>
                <a:lnTo>
                  <a:pt x="2895" y="1682993"/>
                </a:lnTo>
                <a:lnTo>
                  <a:pt x="6482" y="1730748"/>
                </a:lnTo>
                <a:lnTo>
                  <a:pt x="11469" y="1778098"/>
                </a:lnTo>
                <a:lnTo>
                  <a:pt x="17835" y="1825025"/>
                </a:lnTo>
                <a:lnTo>
                  <a:pt x="25558" y="1871507"/>
                </a:lnTo>
                <a:lnTo>
                  <a:pt x="34618" y="1917522"/>
                </a:lnTo>
                <a:lnTo>
                  <a:pt x="44994" y="1963052"/>
                </a:lnTo>
                <a:lnTo>
                  <a:pt x="56666" y="2008074"/>
                </a:lnTo>
                <a:lnTo>
                  <a:pt x="69612" y="2052567"/>
                </a:lnTo>
                <a:lnTo>
                  <a:pt x="83812" y="2096513"/>
                </a:lnTo>
                <a:lnTo>
                  <a:pt x="99246" y="2139888"/>
                </a:lnTo>
                <a:lnTo>
                  <a:pt x="115892" y="2182674"/>
                </a:lnTo>
                <a:lnTo>
                  <a:pt x="133730" y="2224848"/>
                </a:lnTo>
                <a:lnTo>
                  <a:pt x="152738" y="2266391"/>
                </a:lnTo>
                <a:lnTo>
                  <a:pt x="172898" y="2307282"/>
                </a:lnTo>
                <a:lnTo>
                  <a:pt x="194186" y="2347499"/>
                </a:lnTo>
                <a:lnTo>
                  <a:pt x="216583" y="2387022"/>
                </a:lnTo>
                <a:lnTo>
                  <a:pt x="240069" y="2425830"/>
                </a:lnTo>
                <a:lnTo>
                  <a:pt x="264621" y="2463903"/>
                </a:lnTo>
                <a:lnTo>
                  <a:pt x="290221" y="2501220"/>
                </a:lnTo>
                <a:lnTo>
                  <a:pt x="316846" y="2537760"/>
                </a:lnTo>
                <a:lnTo>
                  <a:pt x="344476" y="2573503"/>
                </a:lnTo>
                <a:lnTo>
                  <a:pt x="373090" y="2608427"/>
                </a:lnTo>
                <a:lnTo>
                  <a:pt x="402668" y="2642512"/>
                </a:lnTo>
                <a:lnTo>
                  <a:pt x="433189" y="2675736"/>
                </a:lnTo>
                <a:lnTo>
                  <a:pt x="464632" y="2708081"/>
                </a:lnTo>
                <a:lnTo>
                  <a:pt x="496977" y="2739524"/>
                </a:lnTo>
                <a:lnTo>
                  <a:pt x="530201" y="2770045"/>
                </a:lnTo>
                <a:lnTo>
                  <a:pt x="564286" y="2799623"/>
                </a:lnTo>
                <a:lnTo>
                  <a:pt x="599210" y="2828237"/>
                </a:lnTo>
                <a:lnTo>
                  <a:pt x="634953" y="2855867"/>
                </a:lnTo>
                <a:lnTo>
                  <a:pt x="671493" y="2882492"/>
                </a:lnTo>
                <a:lnTo>
                  <a:pt x="708810" y="2908092"/>
                </a:lnTo>
                <a:lnTo>
                  <a:pt x="746883" y="2932644"/>
                </a:lnTo>
                <a:lnTo>
                  <a:pt x="785691" y="2956130"/>
                </a:lnTo>
                <a:lnTo>
                  <a:pt x="825214" y="2978527"/>
                </a:lnTo>
                <a:lnTo>
                  <a:pt x="865431" y="2999815"/>
                </a:lnTo>
                <a:lnTo>
                  <a:pt x="906322" y="3019975"/>
                </a:lnTo>
                <a:lnTo>
                  <a:pt x="947865" y="3038983"/>
                </a:lnTo>
                <a:lnTo>
                  <a:pt x="990039" y="3056821"/>
                </a:lnTo>
                <a:lnTo>
                  <a:pt x="1032825" y="3073467"/>
                </a:lnTo>
                <a:lnTo>
                  <a:pt x="1076200" y="3088901"/>
                </a:lnTo>
                <a:lnTo>
                  <a:pt x="1120146" y="3103101"/>
                </a:lnTo>
                <a:lnTo>
                  <a:pt x="1164639" y="3116047"/>
                </a:lnTo>
                <a:lnTo>
                  <a:pt x="1209661" y="3127719"/>
                </a:lnTo>
                <a:lnTo>
                  <a:pt x="1255191" y="3138095"/>
                </a:lnTo>
                <a:lnTo>
                  <a:pt x="1301206" y="3147155"/>
                </a:lnTo>
                <a:lnTo>
                  <a:pt x="1347688" y="3154878"/>
                </a:lnTo>
                <a:lnTo>
                  <a:pt x="1394615" y="3161244"/>
                </a:lnTo>
                <a:lnTo>
                  <a:pt x="1441965" y="3166231"/>
                </a:lnTo>
                <a:lnTo>
                  <a:pt x="1489720" y="3169818"/>
                </a:lnTo>
                <a:lnTo>
                  <a:pt x="1537857" y="3171986"/>
                </a:lnTo>
                <a:lnTo>
                  <a:pt x="1586357" y="3172713"/>
                </a:lnTo>
                <a:lnTo>
                  <a:pt x="1634856" y="3171986"/>
                </a:lnTo>
                <a:lnTo>
                  <a:pt x="1682993" y="3169818"/>
                </a:lnTo>
                <a:lnTo>
                  <a:pt x="1730748" y="3166231"/>
                </a:lnTo>
                <a:lnTo>
                  <a:pt x="1778098" y="3161244"/>
                </a:lnTo>
                <a:lnTo>
                  <a:pt x="1825025" y="3154878"/>
                </a:lnTo>
                <a:lnTo>
                  <a:pt x="1871507" y="3147155"/>
                </a:lnTo>
                <a:lnTo>
                  <a:pt x="1917522" y="3138095"/>
                </a:lnTo>
                <a:lnTo>
                  <a:pt x="1963052" y="3127719"/>
                </a:lnTo>
                <a:lnTo>
                  <a:pt x="2008074" y="3116047"/>
                </a:lnTo>
                <a:lnTo>
                  <a:pt x="2052567" y="3103101"/>
                </a:lnTo>
                <a:lnTo>
                  <a:pt x="2096513" y="3088901"/>
                </a:lnTo>
                <a:lnTo>
                  <a:pt x="2139888" y="3073467"/>
                </a:lnTo>
                <a:lnTo>
                  <a:pt x="2182674" y="3056821"/>
                </a:lnTo>
                <a:lnTo>
                  <a:pt x="2224848" y="3038983"/>
                </a:lnTo>
                <a:lnTo>
                  <a:pt x="2266391" y="3019975"/>
                </a:lnTo>
                <a:lnTo>
                  <a:pt x="2307282" y="2999815"/>
                </a:lnTo>
                <a:lnTo>
                  <a:pt x="2347499" y="2978527"/>
                </a:lnTo>
                <a:lnTo>
                  <a:pt x="2387022" y="2956130"/>
                </a:lnTo>
                <a:lnTo>
                  <a:pt x="2425830" y="2932644"/>
                </a:lnTo>
                <a:lnTo>
                  <a:pt x="2463903" y="2908092"/>
                </a:lnTo>
                <a:lnTo>
                  <a:pt x="2501220" y="2882492"/>
                </a:lnTo>
                <a:lnTo>
                  <a:pt x="2537760" y="2855867"/>
                </a:lnTo>
                <a:lnTo>
                  <a:pt x="2573503" y="2828237"/>
                </a:lnTo>
                <a:lnTo>
                  <a:pt x="2608427" y="2799623"/>
                </a:lnTo>
                <a:lnTo>
                  <a:pt x="2642512" y="2770045"/>
                </a:lnTo>
                <a:lnTo>
                  <a:pt x="2675736" y="2739524"/>
                </a:lnTo>
                <a:lnTo>
                  <a:pt x="2708081" y="2708081"/>
                </a:lnTo>
                <a:lnTo>
                  <a:pt x="2739524" y="2675736"/>
                </a:lnTo>
                <a:lnTo>
                  <a:pt x="2770045" y="2642512"/>
                </a:lnTo>
                <a:lnTo>
                  <a:pt x="2799623" y="2608427"/>
                </a:lnTo>
                <a:lnTo>
                  <a:pt x="2828237" y="2573503"/>
                </a:lnTo>
                <a:lnTo>
                  <a:pt x="2855867" y="2537760"/>
                </a:lnTo>
                <a:lnTo>
                  <a:pt x="2882492" y="2501220"/>
                </a:lnTo>
                <a:lnTo>
                  <a:pt x="2908092" y="2463903"/>
                </a:lnTo>
                <a:lnTo>
                  <a:pt x="2932644" y="2425830"/>
                </a:lnTo>
                <a:lnTo>
                  <a:pt x="2956130" y="2387022"/>
                </a:lnTo>
                <a:lnTo>
                  <a:pt x="2978527" y="2347499"/>
                </a:lnTo>
                <a:lnTo>
                  <a:pt x="2999815" y="2307282"/>
                </a:lnTo>
                <a:lnTo>
                  <a:pt x="3019975" y="2266391"/>
                </a:lnTo>
                <a:lnTo>
                  <a:pt x="3038983" y="2224848"/>
                </a:lnTo>
                <a:lnTo>
                  <a:pt x="3056821" y="2182674"/>
                </a:lnTo>
                <a:lnTo>
                  <a:pt x="3073467" y="2139888"/>
                </a:lnTo>
                <a:lnTo>
                  <a:pt x="3088901" y="2096513"/>
                </a:lnTo>
                <a:lnTo>
                  <a:pt x="3103101" y="2052567"/>
                </a:lnTo>
                <a:lnTo>
                  <a:pt x="3116047" y="2008074"/>
                </a:lnTo>
                <a:lnTo>
                  <a:pt x="3127719" y="1963052"/>
                </a:lnTo>
                <a:lnTo>
                  <a:pt x="3138095" y="1917522"/>
                </a:lnTo>
                <a:lnTo>
                  <a:pt x="3147155" y="1871507"/>
                </a:lnTo>
                <a:lnTo>
                  <a:pt x="3154878" y="1825025"/>
                </a:lnTo>
                <a:lnTo>
                  <a:pt x="3161244" y="1778098"/>
                </a:lnTo>
                <a:lnTo>
                  <a:pt x="3166231" y="1730748"/>
                </a:lnTo>
                <a:lnTo>
                  <a:pt x="3169818" y="1682993"/>
                </a:lnTo>
                <a:lnTo>
                  <a:pt x="3171986" y="1634856"/>
                </a:lnTo>
                <a:lnTo>
                  <a:pt x="3172714" y="1586356"/>
                </a:lnTo>
                <a:lnTo>
                  <a:pt x="3171986" y="1537857"/>
                </a:lnTo>
                <a:lnTo>
                  <a:pt x="3169818" y="1489720"/>
                </a:lnTo>
                <a:lnTo>
                  <a:pt x="3166231" y="1441965"/>
                </a:lnTo>
                <a:lnTo>
                  <a:pt x="3161244" y="1394615"/>
                </a:lnTo>
                <a:lnTo>
                  <a:pt x="3154878" y="1347688"/>
                </a:lnTo>
                <a:lnTo>
                  <a:pt x="3147155" y="1301206"/>
                </a:lnTo>
                <a:lnTo>
                  <a:pt x="3138095" y="1255191"/>
                </a:lnTo>
                <a:lnTo>
                  <a:pt x="3127719" y="1209661"/>
                </a:lnTo>
                <a:lnTo>
                  <a:pt x="3116047" y="1164639"/>
                </a:lnTo>
                <a:lnTo>
                  <a:pt x="3103101" y="1120146"/>
                </a:lnTo>
                <a:lnTo>
                  <a:pt x="3088901" y="1076200"/>
                </a:lnTo>
                <a:lnTo>
                  <a:pt x="3073467" y="1032825"/>
                </a:lnTo>
                <a:lnTo>
                  <a:pt x="3056821" y="990039"/>
                </a:lnTo>
                <a:lnTo>
                  <a:pt x="3038983" y="947865"/>
                </a:lnTo>
                <a:lnTo>
                  <a:pt x="3019975" y="906322"/>
                </a:lnTo>
                <a:lnTo>
                  <a:pt x="2999815" y="865431"/>
                </a:lnTo>
                <a:lnTo>
                  <a:pt x="2978527" y="825214"/>
                </a:lnTo>
                <a:lnTo>
                  <a:pt x="2956130" y="785691"/>
                </a:lnTo>
                <a:lnTo>
                  <a:pt x="2932644" y="746883"/>
                </a:lnTo>
                <a:lnTo>
                  <a:pt x="2908092" y="708810"/>
                </a:lnTo>
                <a:lnTo>
                  <a:pt x="2882492" y="671493"/>
                </a:lnTo>
                <a:lnTo>
                  <a:pt x="2855867" y="634953"/>
                </a:lnTo>
                <a:lnTo>
                  <a:pt x="2828237" y="599210"/>
                </a:lnTo>
                <a:lnTo>
                  <a:pt x="2799623" y="564286"/>
                </a:lnTo>
                <a:lnTo>
                  <a:pt x="2770045" y="530201"/>
                </a:lnTo>
                <a:lnTo>
                  <a:pt x="2739524" y="496977"/>
                </a:lnTo>
                <a:lnTo>
                  <a:pt x="2708081" y="464632"/>
                </a:lnTo>
                <a:lnTo>
                  <a:pt x="2675736" y="433189"/>
                </a:lnTo>
                <a:lnTo>
                  <a:pt x="2642512" y="402668"/>
                </a:lnTo>
                <a:lnTo>
                  <a:pt x="2608427" y="373090"/>
                </a:lnTo>
                <a:lnTo>
                  <a:pt x="2573503" y="344476"/>
                </a:lnTo>
                <a:lnTo>
                  <a:pt x="2537760" y="316846"/>
                </a:lnTo>
                <a:lnTo>
                  <a:pt x="2501220" y="290221"/>
                </a:lnTo>
                <a:lnTo>
                  <a:pt x="2463903" y="264621"/>
                </a:lnTo>
                <a:lnTo>
                  <a:pt x="2425830" y="240069"/>
                </a:lnTo>
                <a:lnTo>
                  <a:pt x="2387022" y="216583"/>
                </a:lnTo>
                <a:lnTo>
                  <a:pt x="2347499" y="194186"/>
                </a:lnTo>
                <a:lnTo>
                  <a:pt x="2307282" y="172898"/>
                </a:lnTo>
                <a:lnTo>
                  <a:pt x="2266391" y="152738"/>
                </a:lnTo>
                <a:lnTo>
                  <a:pt x="2224848" y="133730"/>
                </a:lnTo>
                <a:lnTo>
                  <a:pt x="2182674" y="115892"/>
                </a:lnTo>
                <a:lnTo>
                  <a:pt x="2139888" y="99246"/>
                </a:lnTo>
                <a:lnTo>
                  <a:pt x="2096513" y="83812"/>
                </a:lnTo>
                <a:lnTo>
                  <a:pt x="2052567" y="69612"/>
                </a:lnTo>
                <a:lnTo>
                  <a:pt x="2008074" y="56666"/>
                </a:lnTo>
                <a:lnTo>
                  <a:pt x="1963052" y="44994"/>
                </a:lnTo>
                <a:lnTo>
                  <a:pt x="1917522" y="34618"/>
                </a:lnTo>
                <a:lnTo>
                  <a:pt x="1871507" y="25558"/>
                </a:lnTo>
                <a:lnTo>
                  <a:pt x="1825025" y="17835"/>
                </a:lnTo>
                <a:lnTo>
                  <a:pt x="1778098" y="11469"/>
                </a:lnTo>
                <a:lnTo>
                  <a:pt x="1730748" y="6482"/>
                </a:lnTo>
                <a:lnTo>
                  <a:pt x="1682993" y="2895"/>
                </a:lnTo>
                <a:lnTo>
                  <a:pt x="1634856" y="727"/>
                </a:lnTo>
                <a:lnTo>
                  <a:pt x="1586357" y="0"/>
                </a:lnTo>
                <a:close/>
              </a:path>
            </a:pathLst>
          </a:custGeom>
          <a:solidFill>
            <a:srgbClr val="E5E5E5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6480213" y="1437500"/>
            <a:ext cx="3975709" cy="3975100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6881711" y="1838385"/>
            <a:ext cx="3173095" cy="3173095"/>
          </a:xfrm>
          <a:custGeom>
            <a:avLst/>
            <a:gdLst/>
            <a:ahLst/>
            <a:cxnLst/>
            <a:rect l="l" t="t" r="r" b="b"/>
            <a:pathLst>
              <a:path w="3173095" h="3173095">
                <a:moveTo>
                  <a:pt x="1586357" y="0"/>
                </a:moveTo>
                <a:lnTo>
                  <a:pt x="1537857" y="727"/>
                </a:lnTo>
                <a:lnTo>
                  <a:pt x="1489720" y="2895"/>
                </a:lnTo>
                <a:lnTo>
                  <a:pt x="1441965" y="6482"/>
                </a:lnTo>
                <a:lnTo>
                  <a:pt x="1394615" y="11469"/>
                </a:lnTo>
                <a:lnTo>
                  <a:pt x="1347688" y="17835"/>
                </a:lnTo>
                <a:lnTo>
                  <a:pt x="1301206" y="25558"/>
                </a:lnTo>
                <a:lnTo>
                  <a:pt x="1255191" y="34618"/>
                </a:lnTo>
                <a:lnTo>
                  <a:pt x="1209661" y="44994"/>
                </a:lnTo>
                <a:lnTo>
                  <a:pt x="1164639" y="56666"/>
                </a:lnTo>
                <a:lnTo>
                  <a:pt x="1120146" y="69612"/>
                </a:lnTo>
                <a:lnTo>
                  <a:pt x="1076200" y="83812"/>
                </a:lnTo>
                <a:lnTo>
                  <a:pt x="1032825" y="99246"/>
                </a:lnTo>
                <a:lnTo>
                  <a:pt x="990039" y="115892"/>
                </a:lnTo>
                <a:lnTo>
                  <a:pt x="947865" y="133730"/>
                </a:lnTo>
                <a:lnTo>
                  <a:pt x="906322" y="152738"/>
                </a:lnTo>
                <a:lnTo>
                  <a:pt x="865431" y="172898"/>
                </a:lnTo>
                <a:lnTo>
                  <a:pt x="825214" y="194186"/>
                </a:lnTo>
                <a:lnTo>
                  <a:pt x="785691" y="216583"/>
                </a:lnTo>
                <a:lnTo>
                  <a:pt x="746883" y="240069"/>
                </a:lnTo>
                <a:lnTo>
                  <a:pt x="708810" y="264621"/>
                </a:lnTo>
                <a:lnTo>
                  <a:pt x="671493" y="290221"/>
                </a:lnTo>
                <a:lnTo>
                  <a:pt x="634953" y="316846"/>
                </a:lnTo>
                <a:lnTo>
                  <a:pt x="599210" y="344476"/>
                </a:lnTo>
                <a:lnTo>
                  <a:pt x="564286" y="373090"/>
                </a:lnTo>
                <a:lnTo>
                  <a:pt x="530201" y="402668"/>
                </a:lnTo>
                <a:lnTo>
                  <a:pt x="496977" y="433189"/>
                </a:lnTo>
                <a:lnTo>
                  <a:pt x="464632" y="464632"/>
                </a:lnTo>
                <a:lnTo>
                  <a:pt x="433189" y="496977"/>
                </a:lnTo>
                <a:lnTo>
                  <a:pt x="402668" y="530201"/>
                </a:lnTo>
                <a:lnTo>
                  <a:pt x="373090" y="564286"/>
                </a:lnTo>
                <a:lnTo>
                  <a:pt x="344476" y="599210"/>
                </a:lnTo>
                <a:lnTo>
                  <a:pt x="316846" y="634953"/>
                </a:lnTo>
                <a:lnTo>
                  <a:pt x="290221" y="671493"/>
                </a:lnTo>
                <a:lnTo>
                  <a:pt x="264621" y="708810"/>
                </a:lnTo>
                <a:lnTo>
                  <a:pt x="240069" y="746883"/>
                </a:lnTo>
                <a:lnTo>
                  <a:pt x="216583" y="785691"/>
                </a:lnTo>
                <a:lnTo>
                  <a:pt x="194186" y="825214"/>
                </a:lnTo>
                <a:lnTo>
                  <a:pt x="172898" y="865431"/>
                </a:lnTo>
                <a:lnTo>
                  <a:pt x="152738" y="906322"/>
                </a:lnTo>
                <a:lnTo>
                  <a:pt x="133730" y="947865"/>
                </a:lnTo>
                <a:lnTo>
                  <a:pt x="115892" y="990039"/>
                </a:lnTo>
                <a:lnTo>
                  <a:pt x="99246" y="1032825"/>
                </a:lnTo>
                <a:lnTo>
                  <a:pt x="83812" y="1076200"/>
                </a:lnTo>
                <a:lnTo>
                  <a:pt x="69612" y="1120146"/>
                </a:lnTo>
                <a:lnTo>
                  <a:pt x="56666" y="1164639"/>
                </a:lnTo>
                <a:lnTo>
                  <a:pt x="44994" y="1209661"/>
                </a:lnTo>
                <a:lnTo>
                  <a:pt x="34618" y="1255191"/>
                </a:lnTo>
                <a:lnTo>
                  <a:pt x="25558" y="1301206"/>
                </a:lnTo>
                <a:lnTo>
                  <a:pt x="17835" y="1347688"/>
                </a:lnTo>
                <a:lnTo>
                  <a:pt x="11469" y="1394615"/>
                </a:lnTo>
                <a:lnTo>
                  <a:pt x="6482" y="1441965"/>
                </a:lnTo>
                <a:lnTo>
                  <a:pt x="2895" y="1489720"/>
                </a:lnTo>
                <a:lnTo>
                  <a:pt x="727" y="1537857"/>
                </a:lnTo>
                <a:lnTo>
                  <a:pt x="0" y="1586356"/>
                </a:lnTo>
                <a:lnTo>
                  <a:pt x="727" y="1634856"/>
                </a:lnTo>
                <a:lnTo>
                  <a:pt x="2895" y="1682993"/>
                </a:lnTo>
                <a:lnTo>
                  <a:pt x="6482" y="1730748"/>
                </a:lnTo>
                <a:lnTo>
                  <a:pt x="11469" y="1778098"/>
                </a:lnTo>
                <a:lnTo>
                  <a:pt x="17835" y="1825025"/>
                </a:lnTo>
                <a:lnTo>
                  <a:pt x="25558" y="1871507"/>
                </a:lnTo>
                <a:lnTo>
                  <a:pt x="34618" y="1917522"/>
                </a:lnTo>
                <a:lnTo>
                  <a:pt x="44994" y="1963052"/>
                </a:lnTo>
                <a:lnTo>
                  <a:pt x="56666" y="2008074"/>
                </a:lnTo>
                <a:lnTo>
                  <a:pt x="69612" y="2052567"/>
                </a:lnTo>
                <a:lnTo>
                  <a:pt x="83812" y="2096513"/>
                </a:lnTo>
                <a:lnTo>
                  <a:pt x="99246" y="2139888"/>
                </a:lnTo>
                <a:lnTo>
                  <a:pt x="115892" y="2182674"/>
                </a:lnTo>
                <a:lnTo>
                  <a:pt x="133730" y="2224848"/>
                </a:lnTo>
                <a:lnTo>
                  <a:pt x="152738" y="2266391"/>
                </a:lnTo>
                <a:lnTo>
                  <a:pt x="172898" y="2307282"/>
                </a:lnTo>
                <a:lnTo>
                  <a:pt x="194186" y="2347499"/>
                </a:lnTo>
                <a:lnTo>
                  <a:pt x="216583" y="2387022"/>
                </a:lnTo>
                <a:lnTo>
                  <a:pt x="240069" y="2425830"/>
                </a:lnTo>
                <a:lnTo>
                  <a:pt x="264621" y="2463903"/>
                </a:lnTo>
                <a:lnTo>
                  <a:pt x="290221" y="2501220"/>
                </a:lnTo>
                <a:lnTo>
                  <a:pt x="316846" y="2537760"/>
                </a:lnTo>
                <a:lnTo>
                  <a:pt x="344476" y="2573503"/>
                </a:lnTo>
                <a:lnTo>
                  <a:pt x="373090" y="2608427"/>
                </a:lnTo>
                <a:lnTo>
                  <a:pt x="402668" y="2642512"/>
                </a:lnTo>
                <a:lnTo>
                  <a:pt x="433189" y="2675736"/>
                </a:lnTo>
                <a:lnTo>
                  <a:pt x="464632" y="2708081"/>
                </a:lnTo>
                <a:lnTo>
                  <a:pt x="496977" y="2739524"/>
                </a:lnTo>
                <a:lnTo>
                  <a:pt x="530201" y="2770045"/>
                </a:lnTo>
                <a:lnTo>
                  <a:pt x="564286" y="2799623"/>
                </a:lnTo>
                <a:lnTo>
                  <a:pt x="599210" y="2828237"/>
                </a:lnTo>
                <a:lnTo>
                  <a:pt x="634953" y="2855867"/>
                </a:lnTo>
                <a:lnTo>
                  <a:pt x="671493" y="2882492"/>
                </a:lnTo>
                <a:lnTo>
                  <a:pt x="708810" y="2908092"/>
                </a:lnTo>
                <a:lnTo>
                  <a:pt x="746883" y="2932644"/>
                </a:lnTo>
                <a:lnTo>
                  <a:pt x="785691" y="2956130"/>
                </a:lnTo>
                <a:lnTo>
                  <a:pt x="825214" y="2978527"/>
                </a:lnTo>
                <a:lnTo>
                  <a:pt x="865431" y="2999815"/>
                </a:lnTo>
                <a:lnTo>
                  <a:pt x="906322" y="3019975"/>
                </a:lnTo>
                <a:lnTo>
                  <a:pt x="947865" y="3038983"/>
                </a:lnTo>
                <a:lnTo>
                  <a:pt x="990039" y="3056821"/>
                </a:lnTo>
                <a:lnTo>
                  <a:pt x="1032825" y="3073467"/>
                </a:lnTo>
                <a:lnTo>
                  <a:pt x="1076200" y="3088901"/>
                </a:lnTo>
                <a:lnTo>
                  <a:pt x="1120146" y="3103101"/>
                </a:lnTo>
                <a:lnTo>
                  <a:pt x="1164639" y="3116047"/>
                </a:lnTo>
                <a:lnTo>
                  <a:pt x="1209661" y="3127719"/>
                </a:lnTo>
                <a:lnTo>
                  <a:pt x="1255191" y="3138095"/>
                </a:lnTo>
                <a:lnTo>
                  <a:pt x="1301206" y="3147155"/>
                </a:lnTo>
                <a:lnTo>
                  <a:pt x="1347688" y="3154878"/>
                </a:lnTo>
                <a:lnTo>
                  <a:pt x="1394615" y="3161244"/>
                </a:lnTo>
                <a:lnTo>
                  <a:pt x="1441965" y="3166231"/>
                </a:lnTo>
                <a:lnTo>
                  <a:pt x="1489720" y="3169818"/>
                </a:lnTo>
                <a:lnTo>
                  <a:pt x="1537857" y="3171986"/>
                </a:lnTo>
                <a:lnTo>
                  <a:pt x="1586357" y="3172713"/>
                </a:lnTo>
                <a:lnTo>
                  <a:pt x="1634856" y="3171986"/>
                </a:lnTo>
                <a:lnTo>
                  <a:pt x="1682993" y="3169818"/>
                </a:lnTo>
                <a:lnTo>
                  <a:pt x="1730748" y="3166231"/>
                </a:lnTo>
                <a:lnTo>
                  <a:pt x="1778098" y="3161244"/>
                </a:lnTo>
                <a:lnTo>
                  <a:pt x="1825025" y="3154878"/>
                </a:lnTo>
                <a:lnTo>
                  <a:pt x="1871507" y="3147155"/>
                </a:lnTo>
                <a:lnTo>
                  <a:pt x="1917522" y="3138095"/>
                </a:lnTo>
                <a:lnTo>
                  <a:pt x="1963052" y="3127719"/>
                </a:lnTo>
                <a:lnTo>
                  <a:pt x="2008074" y="3116047"/>
                </a:lnTo>
                <a:lnTo>
                  <a:pt x="2052567" y="3103101"/>
                </a:lnTo>
                <a:lnTo>
                  <a:pt x="2096513" y="3088901"/>
                </a:lnTo>
                <a:lnTo>
                  <a:pt x="2139888" y="3073467"/>
                </a:lnTo>
                <a:lnTo>
                  <a:pt x="2182674" y="3056821"/>
                </a:lnTo>
                <a:lnTo>
                  <a:pt x="2224848" y="3038983"/>
                </a:lnTo>
                <a:lnTo>
                  <a:pt x="2266391" y="3019975"/>
                </a:lnTo>
                <a:lnTo>
                  <a:pt x="2307282" y="2999815"/>
                </a:lnTo>
                <a:lnTo>
                  <a:pt x="2347499" y="2978527"/>
                </a:lnTo>
                <a:lnTo>
                  <a:pt x="2387022" y="2956130"/>
                </a:lnTo>
                <a:lnTo>
                  <a:pt x="2425830" y="2932644"/>
                </a:lnTo>
                <a:lnTo>
                  <a:pt x="2463903" y="2908092"/>
                </a:lnTo>
                <a:lnTo>
                  <a:pt x="2501220" y="2882492"/>
                </a:lnTo>
                <a:lnTo>
                  <a:pt x="2537760" y="2855867"/>
                </a:lnTo>
                <a:lnTo>
                  <a:pt x="2573503" y="2828237"/>
                </a:lnTo>
                <a:lnTo>
                  <a:pt x="2608427" y="2799623"/>
                </a:lnTo>
                <a:lnTo>
                  <a:pt x="2642512" y="2770045"/>
                </a:lnTo>
                <a:lnTo>
                  <a:pt x="2675736" y="2739524"/>
                </a:lnTo>
                <a:lnTo>
                  <a:pt x="2708081" y="2708081"/>
                </a:lnTo>
                <a:lnTo>
                  <a:pt x="2739524" y="2675736"/>
                </a:lnTo>
                <a:lnTo>
                  <a:pt x="2770045" y="2642512"/>
                </a:lnTo>
                <a:lnTo>
                  <a:pt x="2799623" y="2608427"/>
                </a:lnTo>
                <a:lnTo>
                  <a:pt x="2828237" y="2573503"/>
                </a:lnTo>
                <a:lnTo>
                  <a:pt x="2855867" y="2537760"/>
                </a:lnTo>
                <a:lnTo>
                  <a:pt x="2882492" y="2501220"/>
                </a:lnTo>
                <a:lnTo>
                  <a:pt x="2908092" y="2463903"/>
                </a:lnTo>
                <a:lnTo>
                  <a:pt x="2932644" y="2425830"/>
                </a:lnTo>
                <a:lnTo>
                  <a:pt x="2956130" y="2387022"/>
                </a:lnTo>
                <a:lnTo>
                  <a:pt x="2978527" y="2347499"/>
                </a:lnTo>
                <a:lnTo>
                  <a:pt x="2999815" y="2307282"/>
                </a:lnTo>
                <a:lnTo>
                  <a:pt x="3019975" y="2266391"/>
                </a:lnTo>
                <a:lnTo>
                  <a:pt x="3038983" y="2224848"/>
                </a:lnTo>
                <a:lnTo>
                  <a:pt x="3056821" y="2182674"/>
                </a:lnTo>
                <a:lnTo>
                  <a:pt x="3073467" y="2139888"/>
                </a:lnTo>
                <a:lnTo>
                  <a:pt x="3088901" y="2096513"/>
                </a:lnTo>
                <a:lnTo>
                  <a:pt x="3103101" y="2052567"/>
                </a:lnTo>
                <a:lnTo>
                  <a:pt x="3116047" y="2008074"/>
                </a:lnTo>
                <a:lnTo>
                  <a:pt x="3127719" y="1963052"/>
                </a:lnTo>
                <a:lnTo>
                  <a:pt x="3138095" y="1917522"/>
                </a:lnTo>
                <a:lnTo>
                  <a:pt x="3147155" y="1871507"/>
                </a:lnTo>
                <a:lnTo>
                  <a:pt x="3154878" y="1825025"/>
                </a:lnTo>
                <a:lnTo>
                  <a:pt x="3161244" y="1778098"/>
                </a:lnTo>
                <a:lnTo>
                  <a:pt x="3166231" y="1730748"/>
                </a:lnTo>
                <a:lnTo>
                  <a:pt x="3169818" y="1682993"/>
                </a:lnTo>
                <a:lnTo>
                  <a:pt x="3171986" y="1634856"/>
                </a:lnTo>
                <a:lnTo>
                  <a:pt x="3172714" y="1586356"/>
                </a:lnTo>
                <a:lnTo>
                  <a:pt x="3171986" y="1537857"/>
                </a:lnTo>
                <a:lnTo>
                  <a:pt x="3169818" y="1489720"/>
                </a:lnTo>
                <a:lnTo>
                  <a:pt x="3166231" y="1441965"/>
                </a:lnTo>
                <a:lnTo>
                  <a:pt x="3161244" y="1394615"/>
                </a:lnTo>
                <a:lnTo>
                  <a:pt x="3154878" y="1347688"/>
                </a:lnTo>
                <a:lnTo>
                  <a:pt x="3147155" y="1301206"/>
                </a:lnTo>
                <a:lnTo>
                  <a:pt x="3138095" y="1255191"/>
                </a:lnTo>
                <a:lnTo>
                  <a:pt x="3127719" y="1209661"/>
                </a:lnTo>
                <a:lnTo>
                  <a:pt x="3116047" y="1164639"/>
                </a:lnTo>
                <a:lnTo>
                  <a:pt x="3103101" y="1120146"/>
                </a:lnTo>
                <a:lnTo>
                  <a:pt x="3088901" y="1076200"/>
                </a:lnTo>
                <a:lnTo>
                  <a:pt x="3073467" y="1032825"/>
                </a:lnTo>
                <a:lnTo>
                  <a:pt x="3056821" y="990039"/>
                </a:lnTo>
                <a:lnTo>
                  <a:pt x="3038983" y="947865"/>
                </a:lnTo>
                <a:lnTo>
                  <a:pt x="3019975" y="906322"/>
                </a:lnTo>
                <a:lnTo>
                  <a:pt x="2999815" y="865431"/>
                </a:lnTo>
                <a:lnTo>
                  <a:pt x="2978527" y="825214"/>
                </a:lnTo>
                <a:lnTo>
                  <a:pt x="2956130" y="785691"/>
                </a:lnTo>
                <a:lnTo>
                  <a:pt x="2932644" y="746883"/>
                </a:lnTo>
                <a:lnTo>
                  <a:pt x="2908092" y="708810"/>
                </a:lnTo>
                <a:lnTo>
                  <a:pt x="2882492" y="671493"/>
                </a:lnTo>
                <a:lnTo>
                  <a:pt x="2855867" y="634953"/>
                </a:lnTo>
                <a:lnTo>
                  <a:pt x="2828237" y="599210"/>
                </a:lnTo>
                <a:lnTo>
                  <a:pt x="2799623" y="564286"/>
                </a:lnTo>
                <a:lnTo>
                  <a:pt x="2770045" y="530201"/>
                </a:lnTo>
                <a:lnTo>
                  <a:pt x="2739524" y="496977"/>
                </a:lnTo>
                <a:lnTo>
                  <a:pt x="2708081" y="464632"/>
                </a:lnTo>
                <a:lnTo>
                  <a:pt x="2675736" y="433189"/>
                </a:lnTo>
                <a:lnTo>
                  <a:pt x="2642512" y="402668"/>
                </a:lnTo>
                <a:lnTo>
                  <a:pt x="2608427" y="373090"/>
                </a:lnTo>
                <a:lnTo>
                  <a:pt x="2573503" y="344476"/>
                </a:lnTo>
                <a:lnTo>
                  <a:pt x="2537760" y="316846"/>
                </a:lnTo>
                <a:lnTo>
                  <a:pt x="2501220" y="290221"/>
                </a:lnTo>
                <a:lnTo>
                  <a:pt x="2463903" y="264621"/>
                </a:lnTo>
                <a:lnTo>
                  <a:pt x="2425830" y="240069"/>
                </a:lnTo>
                <a:lnTo>
                  <a:pt x="2387022" y="216583"/>
                </a:lnTo>
                <a:lnTo>
                  <a:pt x="2347499" y="194186"/>
                </a:lnTo>
                <a:lnTo>
                  <a:pt x="2307282" y="172898"/>
                </a:lnTo>
                <a:lnTo>
                  <a:pt x="2266391" y="152738"/>
                </a:lnTo>
                <a:lnTo>
                  <a:pt x="2224848" y="133730"/>
                </a:lnTo>
                <a:lnTo>
                  <a:pt x="2182674" y="115892"/>
                </a:lnTo>
                <a:lnTo>
                  <a:pt x="2139888" y="99246"/>
                </a:lnTo>
                <a:lnTo>
                  <a:pt x="2096513" y="83812"/>
                </a:lnTo>
                <a:lnTo>
                  <a:pt x="2052567" y="69612"/>
                </a:lnTo>
                <a:lnTo>
                  <a:pt x="2008074" y="56666"/>
                </a:lnTo>
                <a:lnTo>
                  <a:pt x="1963052" y="44994"/>
                </a:lnTo>
                <a:lnTo>
                  <a:pt x="1917522" y="34618"/>
                </a:lnTo>
                <a:lnTo>
                  <a:pt x="1871507" y="25558"/>
                </a:lnTo>
                <a:lnTo>
                  <a:pt x="1825025" y="17835"/>
                </a:lnTo>
                <a:lnTo>
                  <a:pt x="1778098" y="11469"/>
                </a:lnTo>
                <a:lnTo>
                  <a:pt x="1730748" y="6482"/>
                </a:lnTo>
                <a:lnTo>
                  <a:pt x="1682993" y="2895"/>
                </a:lnTo>
                <a:lnTo>
                  <a:pt x="1634856" y="727"/>
                </a:lnTo>
                <a:lnTo>
                  <a:pt x="1586357" y="0"/>
                </a:lnTo>
                <a:close/>
              </a:path>
            </a:pathLst>
          </a:custGeom>
          <a:solidFill>
            <a:srgbClr val="D3D3D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bg object 22"/>
          <p:cNvSpPr/>
          <p:nvPr/>
        </p:nvSpPr>
        <p:spPr>
          <a:xfrm>
            <a:off x="7002293" y="1958959"/>
            <a:ext cx="2931795" cy="2931795"/>
          </a:xfrm>
          <a:custGeom>
            <a:avLst/>
            <a:gdLst/>
            <a:ahLst/>
            <a:cxnLst/>
            <a:rect l="l" t="t" r="r" b="b"/>
            <a:pathLst>
              <a:path w="2931795" h="2931795">
                <a:moveTo>
                  <a:pt x="1465770" y="0"/>
                </a:moveTo>
                <a:lnTo>
                  <a:pt x="1417387" y="783"/>
                </a:lnTo>
                <a:lnTo>
                  <a:pt x="1369395" y="3117"/>
                </a:lnTo>
                <a:lnTo>
                  <a:pt x="1321820" y="6978"/>
                </a:lnTo>
                <a:lnTo>
                  <a:pt x="1274685" y="12342"/>
                </a:lnTo>
                <a:lnTo>
                  <a:pt x="1228014" y="19184"/>
                </a:lnTo>
                <a:lnTo>
                  <a:pt x="1181832" y="27481"/>
                </a:lnTo>
                <a:lnTo>
                  <a:pt x="1136163" y="37207"/>
                </a:lnTo>
                <a:lnTo>
                  <a:pt x="1091031" y="48340"/>
                </a:lnTo>
                <a:lnTo>
                  <a:pt x="1046459" y="60854"/>
                </a:lnTo>
                <a:lnTo>
                  <a:pt x="1002473" y="74727"/>
                </a:lnTo>
                <a:lnTo>
                  <a:pt x="959096" y="89933"/>
                </a:lnTo>
                <a:lnTo>
                  <a:pt x="916352" y="106448"/>
                </a:lnTo>
                <a:lnTo>
                  <a:pt x="874266" y="124248"/>
                </a:lnTo>
                <a:lnTo>
                  <a:pt x="832862" y="143310"/>
                </a:lnTo>
                <a:lnTo>
                  <a:pt x="792164" y="163609"/>
                </a:lnTo>
                <a:lnTo>
                  <a:pt x="752195" y="185120"/>
                </a:lnTo>
                <a:lnTo>
                  <a:pt x="712981" y="207821"/>
                </a:lnTo>
                <a:lnTo>
                  <a:pt x="674545" y="231686"/>
                </a:lnTo>
                <a:lnTo>
                  <a:pt x="636912" y="256691"/>
                </a:lnTo>
                <a:lnTo>
                  <a:pt x="600105" y="282812"/>
                </a:lnTo>
                <a:lnTo>
                  <a:pt x="564148" y="310026"/>
                </a:lnTo>
                <a:lnTo>
                  <a:pt x="529067" y="338308"/>
                </a:lnTo>
                <a:lnTo>
                  <a:pt x="494885" y="367634"/>
                </a:lnTo>
                <a:lnTo>
                  <a:pt x="461625" y="397979"/>
                </a:lnTo>
                <a:lnTo>
                  <a:pt x="429313" y="429320"/>
                </a:lnTo>
                <a:lnTo>
                  <a:pt x="397973" y="461632"/>
                </a:lnTo>
                <a:lnTo>
                  <a:pt x="367628" y="494892"/>
                </a:lnTo>
                <a:lnTo>
                  <a:pt x="338303" y="529075"/>
                </a:lnTo>
                <a:lnTo>
                  <a:pt x="310021" y="564156"/>
                </a:lnTo>
                <a:lnTo>
                  <a:pt x="282808" y="600113"/>
                </a:lnTo>
                <a:lnTo>
                  <a:pt x="256687" y="636920"/>
                </a:lnTo>
                <a:lnTo>
                  <a:pt x="231682" y="674554"/>
                </a:lnTo>
                <a:lnTo>
                  <a:pt x="207817" y="712990"/>
                </a:lnTo>
                <a:lnTo>
                  <a:pt x="185117" y="752205"/>
                </a:lnTo>
                <a:lnTo>
                  <a:pt x="163606" y="792174"/>
                </a:lnTo>
                <a:lnTo>
                  <a:pt x="143308" y="832872"/>
                </a:lnTo>
                <a:lnTo>
                  <a:pt x="124246" y="874277"/>
                </a:lnTo>
                <a:lnTo>
                  <a:pt x="106446" y="916363"/>
                </a:lnTo>
                <a:lnTo>
                  <a:pt x="89931" y="959107"/>
                </a:lnTo>
                <a:lnTo>
                  <a:pt x="74725" y="1002484"/>
                </a:lnTo>
                <a:lnTo>
                  <a:pt x="60853" y="1046471"/>
                </a:lnTo>
                <a:lnTo>
                  <a:pt x="48339" y="1091042"/>
                </a:lnTo>
                <a:lnTo>
                  <a:pt x="37207" y="1136175"/>
                </a:lnTo>
                <a:lnTo>
                  <a:pt x="27480" y="1181844"/>
                </a:lnTo>
                <a:lnTo>
                  <a:pt x="19184" y="1228027"/>
                </a:lnTo>
                <a:lnTo>
                  <a:pt x="12342" y="1274697"/>
                </a:lnTo>
                <a:lnTo>
                  <a:pt x="6978" y="1321832"/>
                </a:lnTo>
                <a:lnTo>
                  <a:pt x="3117" y="1369408"/>
                </a:lnTo>
                <a:lnTo>
                  <a:pt x="783" y="1417399"/>
                </a:lnTo>
                <a:lnTo>
                  <a:pt x="0" y="1465783"/>
                </a:lnTo>
                <a:lnTo>
                  <a:pt x="783" y="1514166"/>
                </a:lnTo>
                <a:lnTo>
                  <a:pt x="3117" y="1562158"/>
                </a:lnTo>
                <a:lnTo>
                  <a:pt x="6978" y="1609733"/>
                </a:lnTo>
                <a:lnTo>
                  <a:pt x="12342" y="1656868"/>
                </a:lnTo>
                <a:lnTo>
                  <a:pt x="19184" y="1703539"/>
                </a:lnTo>
                <a:lnTo>
                  <a:pt x="27480" y="1749721"/>
                </a:lnTo>
                <a:lnTo>
                  <a:pt x="37207" y="1795390"/>
                </a:lnTo>
                <a:lnTo>
                  <a:pt x="48339" y="1840523"/>
                </a:lnTo>
                <a:lnTo>
                  <a:pt x="60853" y="1885095"/>
                </a:lnTo>
                <a:lnTo>
                  <a:pt x="74725" y="1929081"/>
                </a:lnTo>
                <a:lnTo>
                  <a:pt x="89931" y="1972458"/>
                </a:lnTo>
                <a:lnTo>
                  <a:pt x="106446" y="2015202"/>
                </a:lnTo>
                <a:lnTo>
                  <a:pt x="124246" y="2057288"/>
                </a:lnTo>
                <a:lnTo>
                  <a:pt x="143308" y="2098693"/>
                </a:lnTo>
                <a:lnTo>
                  <a:pt x="163606" y="2139392"/>
                </a:lnTo>
                <a:lnTo>
                  <a:pt x="185117" y="2179360"/>
                </a:lnTo>
                <a:lnTo>
                  <a:pt x="207817" y="2218575"/>
                </a:lnTo>
                <a:lnTo>
                  <a:pt x="231682" y="2257011"/>
                </a:lnTo>
                <a:lnTo>
                  <a:pt x="256687" y="2294645"/>
                </a:lnTo>
                <a:lnTo>
                  <a:pt x="282808" y="2331452"/>
                </a:lnTo>
                <a:lnTo>
                  <a:pt x="310021" y="2367409"/>
                </a:lnTo>
                <a:lnTo>
                  <a:pt x="338303" y="2402491"/>
                </a:lnTo>
                <a:lnTo>
                  <a:pt x="367628" y="2436674"/>
                </a:lnTo>
                <a:lnTo>
                  <a:pt x="397973" y="2469933"/>
                </a:lnTo>
                <a:lnTo>
                  <a:pt x="429313" y="2502246"/>
                </a:lnTo>
                <a:lnTo>
                  <a:pt x="461625" y="2533586"/>
                </a:lnTo>
                <a:lnTo>
                  <a:pt x="494885" y="2563932"/>
                </a:lnTo>
                <a:lnTo>
                  <a:pt x="529067" y="2593257"/>
                </a:lnTo>
                <a:lnTo>
                  <a:pt x="564148" y="2621539"/>
                </a:lnTo>
                <a:lnTo>
                  <a:pt x="600105" y="2648753"/>
                </a:lnTo>
                <a:lnTo>
                  <a:pt x="636912" y="2674875"/>
                </a:lnTo>
                <a:lnTo>
                  <a:pt x="674545" y="2699880"/>
                </a:lnTo>
                <a:lnTo>
                  <a:pt x="712981" y="2723745"/>
                </a:lnTo>
                <a:lnTo>
                  <a:pt x="752195" y="2746445"/>
                </a:lnTo>
                <a:lnTo>
                  <a:pt x="792164" y="2767957"/>
                </a:lnTo>
                <a:lnTo>
                  <a:pt x="832862" y="2788255"/>
                </a:lnTo>
                <a:lnTo>
                  <a:pt x="874266" y="2807317"/>
                </a:lnTo>
                <a:lnTo>
                  <a:pt x="916352" y="2825118"/>
                </a:lnTo>
                <a:lnTo>
                  <a:pt x="959096" y="2841633"/>
                </a:lnTo>
                <a:lnTo>
                  <a:pt x="1002473" y="2856839"/>
                </a:lnTo>
                <a:lnTo>
                  <a:pt x="1046459" y="2870711"/>
                </a:lnTo>
                <a:lnTo>
                  <a:pt x="1091031" y="2883225"/>
                </a:lnTo>
                <a:lnTo>
                  <a:pt x="1136163" y="2894358"/>
                </a:lnTo>
                <a:lnTo>
                  <a:pt x="1181832" y="2904085"/>
                </a:lnTo>
                <a:lnTo>
                  <a:pt x="1228014" y="2912381"/>
                </a:lnTo>
                <a:lnTo>
                  <a:pt x="1274685" y="2919223"/>
                </a:lnTo>
                <a:lnTo>
                  <a:pt x="1321820" y="2924587"/>
                </a:lnTo>
                <a:lnTo>
                  <a:pt x="1369395" y="2928448"/>
                </a:lnTo>
                <a:lnTo>
                  <a:pt x="1417387" y="2930782"/>
                </a:lnTo>
                <a:lnTo>
                  <a:pt x="1465770" y="2931566"/>
                </a:lnTo>
                <a:lnTo>
                  <a:pt x="1514154" y="2930782"/>
                </a:lnTo>
                <a:lnTo>
                  <a:pt x="1562146" y="2928448"/>
                </a:lnTo>
                <a:lnTo>
                  <a:pt x="1609722" y="2924587"/>
                </a:lnTo>
                <a:lnTo>
                  <a:pt x="1656858" y="2919223"/>
                </a:lnTo>
                <a:lnTo>
                  <a:pt x="1703529" y="2912381"/>
                </a:lnTo>
                <a:lnTo>
                  <a:pt x="1749712" y="2904085"/>
                </a:lnTo>
                <a:lnTo>
                  <a:pt x="1795382" y="2894358"/>
                </a:lnTo>
                <a:lnTo>
                  <a:pt x="1840515" y="2883225"/>
                </a:lnTo>
                <a:lnTo>
                  <a:pt x="1885087" y="2870711"/>
                </a:lnTo>
                <a:lnTo>
                  <a:pt x="1929073" y="2856839"/>
                </a:lnTo>
                <a:lnTo>
                  <a:pt x="1972451" y="2841633"/>
                </a:lnTo>
                <a:lnTo>
                  <a:pt x="2015195" y="2825118"/>
                </a:lnTo>
                <a:lnTo>
                  <a:pt x="2057281" y="2807317"/>
                </a:lnTo>
                <a:lnTo>
                  <a:pt x="2098686" y="2788255"/>
                </a:lnTo>
                <a:lnTo>
                  <a:pt x="2139385" y="2767957"/>
                </a:lnTo>
                <a:lnTo>
                  <a:pt x="2179353" y="2746445"/>
                </a:lnTo>
                <a:lnTo>
                  <a:pt x="2218568" y="2723745"/>
                </a:lnTo>
                <a:lnTo>
                  <a:pt x="2257004" y="2699880"/>
                </a:lnTo>
                <a:lnTo>
                  <a:pt x="2294638" y="2674875"/>
                </a:lnTo>
                <a:lnTo>
                  <a:pt x="2331445" y="2648753"/>
                </a:lnTo>
                <a:lnTo>
                  <a:pt x="2367402" y="2621539"/>
                </a:lnTo>
                <a:lnTo>
                  <a:pt x="2402483" y="2593257"/>
                </a:lnTo>
                <a:lnTo>
                  <a:pt x="2436666" y="2563932"/>
                </a:lnTo>
                <a:lnTo>
                  <a:pt x="2469925" y="2533586"/>
                </a:lnTo>
                <a:lnTo>
                  <a:pt x="2502238" y="2502246"/>
                </a:lnTo>
                <a:lnTo>
                  <a:pt x="2533578" y="2469933"/>
                </a:lnTo>
                <a:lnTo>
                  <a:pt x="2563923" y="2436674"/>
                </a:lnTo>
                <a:lnTo>
                  <a:pt x="2593249" y="2402491"/>
                </a:lnTo>
                <a:lnTo>
                  <a:pt x="2621530" y="2367409"/>
                </a:lnTo>
                <a:lnTo>
                  <a:pt x="2648744" y="2331452"/>
                </a:lnTo>
                <a:lnTo>
                  <a:pt x="2674865" y="2294645"/>
                </a:lnTo>
                <a:lnTo>
                  <a:pt x="2699870" y="2257011"/>
                </a:lnTo>
                <a:lnTo>
                  <a:pt x="2723735" y="2218575"/>
                </a:lnTo>
                <a:lnTo>
                  <a:pt x="2746435" y="2179360"/>
                </a:lnTo>
                <a:lnTo>
                  <a:pt x="2767946" y="2139392"/>
                </a:lnTo>
                <a:lnTo>
                  <a:pt x="2788245" y="2098693"/>
                </a:lnTo>
                <a:lnTo>
                  <a:pt x="2807306" y="2057288"/>
                </a:lnTo>
                <a:lnTo>
                  <a:pt x="2825107" y="2015202"/>
                </a:lnTo>
                <a:lnTo>
                  <a:pt x="2841622" y="1972458"/>
                </a:lnTo>
                <a:lnTo>
                  <a:pt x="2856827" y="1929081"/>
                </a:lnTo>
                <a:lnTo>
                  <a:pt x="2870699" y="1885095"/>
                </a:lnTo>
                <a:lnTo>
                  <a:pt x="2883214" y="1840523"/>
                </a:lnTo>
                <a:lnTo>
                  <a:pt x="2894346" y="1795390"/>
                </a:lnTo>
                <a:lnTo>
                  <a:pt x="2904072" y="1749721"/>
                </a:lnTo>
                <a:lnTo>
                  <a:pt x="2912369" y="1703539"/>
                </a:lnTo>
                <a:lnTo>
                  <a:pt x="2919211" y="1656868"/>
                </a:lnTo>
                <a:lnTo>
                  <a:pt x="2924574" y="1609733"/>
                </a:lnTo>
                <a:lnTo>
                  <a:pt x="2928435" y="1562158"/>
                </a:lnTo>
                <a:lnTo>
                  <a:pt x="2930770" y="1514166"/>
                </a:lnTo>
                <a:lnTo>
                  <a:pt x="2931553" y="1465783"/>
                </a:lnTo>
                <a:lnTo>
                  <a:pt x="2930770" y="1417399"/>
                </a:lnTo>
                <a:lnTo>
                  <a:pt x="2928435" y="1369408"/>
                </a:lnTo>
                <a:lnTo>
                  <a:pt x="2924574" y="1321832"/>
                </a:lnTo>
                <a:lnTo>
                  <a:pt x="2919211" y="1274697"/>
                </a:lnTo>
                <a:lnTo>
                  <a:pt x="2912369" y="1228027"/>
                </a:lnTo>
                <a:lnTo>
                  <a:pt x="2904072" y="1181844"/>
                </a:lnTo>
                <a:lnTo>
                  <a:pt x="2894346" y="1136175"/>
                </a:lnTo>
                <a:lnTo>
                  <a:pt x="2883214" y="1091042"/>
                </a:lnTo>
                <a:lnTo>
                  <a:pt x="2870699" y="1046471"/>
                </a:lnTo>
                <a:lnTo>
                  <a:pt x="2856827" y="1002484"/>
                </a:lnTo>
                <a:lnTo>
                  <a:pt x="2841622" y="959107"/>
                </a:lnTo>
                <a:lnTo>
                  <a:pt x="2825107" y="916363"/>
                </a:lnTo>
                <a:lnTo>
                  <a:pt x="2807306" y="874277"/>
                </a:lnTo>
                <a:lnTo>
                  <a:pt x="2788245" y="832872"/>
                </a:lnTo>
                <a:lnTo>
                  <a:pt x="2767946" y="792174"/>
                </a:lnTo>
                <a:lnTo>
                  <a:pt x="2746435" y="752205"/>
                </a:lnTo>
                <a:lnTo>
                  <a:pt x="2723735" y="712990"/>
                </a:lnTo>
                <a:lnTo>
                  <a:pt x="2699870" y="674554"/>
                </a:lnTo>
                <a:lnTo>
                  <a:pt x="2674865" y="636920"/>
                </a:lnTo>
                <a:lnTo>
                  <a:pt x="2648744" y="600113"/>
                </a:lnTo>
                <a:lnTo>
                  <a:pt x="2621530" y="564156"/>
                </a:lnTo>
                <a:lnTo>
                  <a:pt x="2593249" y="529075"/>
                </a:lnTo>
                <a:lnTo>
                  <a:pt x="2563923" y="494892"/>
                </a:lnTo>
                <a:lnTo>
                  <a:pt x="2533578" y="461632"/>
                </a:lnTo>
                <a:lnTo>
                  <a:pt x="2502238" y="429320"/>
                </a:lnTo>
                <a:lnTo>
                  <a:pt x="2469925" y="397979"/>
                </a:lnTo>
                <a:lnTo>
                  <a:pt x="2436666" y="367634"/>
                </a:lnTo>
                <a:lnTo>
                  <a:pt x="2402483" y="338308"/>
                </a:lnTo>
                <a:lnTo>
                  <a:pt x="2367402" y="310026"/>
                </a:lnTo>
                <a:lnTo>
                  <a:pt x="2331445" y="282812"/>
                </a:lnTo>
                <a:lnTo>
                  <a:pt x="2294638" y="256691"/>
                </a:lnTo>
                <a:lnTo>
                  <a:pt x="2257004" y="231686"/>
                </a:lnTo>
                <a:lnTo>
                  <a:pt x="2218568" y="207821"/>
                </a:lnTo>
                <a:lnTo>
                  <a:pt x="2179353" y="185120"/>
                </a:lnTo>
                <a:lnTo>
                  <a:pt x="2139385" y="163609"/>
                </a:lnTo>
                <a:lnTo>
                  <a:pt x="2098686" y="143310"/>
                </a:lnTo>
                <a:lnTo>
                  <a:pt x="2057281" y="124248"/>
                </a:lnTo>
                <a:lnTo>
                  <a:pt x="2015195" y="106448"/>
                </a:lnTo>
                <a:lnTo>
                  <a:pt x="1972451" y="89933"/>
                </a:lnTo>
                <a:lnTo>
                  <a:pt x="1929073" y="74727"/>
                </a:lnTo>
                <a:lnTo>
                  <a:pt x="1885087" y="60854"/>
                </a:lnTo>
                <a:lnTo>
                  <a:pt x="1840515" y="48340"/>
                </a:lnTo>
                <a:lnTo>
                  <a:pt x="1795382" y="37207"/>
                </a:lnTo>
                <a:lnTo>
                  <a:pt x="1749712" y="27481"/>
                </a:lnTo>
                <a:lnTo>
                  <a:pt x="1703529" y="19184"/>
                </a:lnTo>
                <a:lnTo>
                  <a:pt x="1656858" y="12342"/>
                </a:lnTo>
                <a:lnTo>
                  <a:pt x="1609722" y="6978"/>
                </a:lnTo>
                <a:lnTo>
                  <a:pt x="1562146" y="3117"/>
                </a:lnTo>
                <a:lnTo>
                  <a:pt x="1514154" y="783"/>
                </a:lnTo>
                <a:lnTo>
                  <a:pt x="1465770" y="0"/>
                </a:lnTo>
                <a:close/>
              </a:path>
            </a:pathLst>
          </a:custGeom>
          <a:solidFill>
            <a:srgbClr val="EFEFE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3" name="bg object 2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0" y="1201432"/>
            <a:ext cx="7491362" cy="4455134"/>
          </a:xfrm>
          <a:prstGeom prst="rect">
            <a:avLst/>
          </a:prstGeom>
        </p:spPr>
      </p:pic>
      <p:pic>
        <p:nvPicPr>
          <p:cNvPr id="24" name="bg object 24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7122871" y="2079536"/>
            <a:ext cx="2690406" cy="2690406"/>
          </a:xfrm>
          <a:prstGeom prst="rect">
            <a:avLst/>
          </a:prstGeom>
        </p:spPr>
      </p:pic>
      <p:pic>
        <p:nvPicPr>
          <p:cNvPr id="25" name="bg object 25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8465846" y="1547672"/>
            <a:ext cx="1575330" cy="1803400"/>
          </a:xfrm>
          <a:prstGeom prst="rect">
            <a:avLst/>
          </a:prstGeom>
        </p:spPr>
      </p:pic>
      <p:pic>
        <p:nvPicPr>
          <p:cNvPr id="26" name="bg object 26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11006255" y="1753743"/>
            <a:ext cx="612783" cy="591134"/>
          </a:xfrm>
          <a:prstGeom prst="rect">
            <a:avLst/>
          </a:prstGeom>
        </p:spPr>
      </p:pic>
      <p:pic>
        <p:nvPicPr>
          <p:cNvPr id="27" name="bg object 27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7104709" y="2246579"/>
            <a:ext cx="537769" cy="557834"/>
          </a:xfrm>
          <a:prstGeom prst="rect">
            <a:avLst/>
          </a:prstGeom>
        </p:spPr>
      </p:pic>
      <p:pic>
        <p:nvPicPr>
          <p:cNvPr id="28" name="bg object 28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8851176" y="3723271"/>
            <a:ext cx="1082675" cy="1201394"/>
          </a:xfrm>
          <a:prstGeom prst="rect">
            <a:avLst/>
          </a:prstGeom>
        </p:spPr>
      </p:pic>
      <p:pic>
        <p:nvPicPr>
          <p:cNvPr id="29" name="bg object 29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10647971" y="2808871"/>
            <a:ext cx="1540979" cy="1942172"/>
          </a:xfrm>
          <a:prstGeom prst="rect">
            <a:avLst/>
          </a:prstGeom>
        </p:spPr>
      </p:pic>
      <p:sp>
        <p:nvSpPr>
          <p:cNvPr id="30" name="bg object 30"/>
          <p:cNvSpPr/>
          <p:nvPr/>
        </p:nvSpPr>
        <p:spPr>
          <a:xfrm>
            <a:off x="3832212" y="3773601"/>
            <a:ext cx="2058670" cy="875665"/>
          </a:xfrm>
          <a:custGeom>
            <a:avLst/>
            <a:gdLst/>
            <a:ahLst/>
            <a:cxnLst/>
            <a:rect l="l" t="t" r="r" b="b"/>
            <a:pathLst>
              <a:path w="2058670" h="875664">
                <a:moveTo>
                  <a:pt x="366344" y="193332"/>
                </a:moveTo>
                <a:lnTo>
                  <a:pt x="363753" y="145783"/>
                </a:lnTo>
                <a:lnTo>
                  <a:pt x="355257" y="103835"/>
                </a:lnTo>
                <a:lnTo>
                  <a:pt x="339801" y="68110"/>
                </a:lnTo>
                <a:lnTo>
                  <a:pt x="283730" y="17856"/>
                </a:lnTo>
                <a:lnTo>
                  <a:pt x="240982" y="4572"/>
                </a:lnTo>
                <a:lnTo>
                  <a:pt x="186994" y="0"/>
                </a:lnTo>
                <a:lnTo>
                  <a:pt x="134581" y="5549"/>
                </a:lnTo>
                <a:lnTo>
                  <a:pt x="91503" y="21361"/>
                </a:lnTo>
                <a:lnTo>
                  <a:pt x="57315" y="46164"/>
                </a:lnTo>
                <a:lnTo>
                  <a:pt x="31534" y="78676"/>
                </a:lnTo>
                <a:lnTo>
                  <a:pt x="13703" y="117652"/>
                </a:lnTo>
                <a:lnTo>
                  <a:pt x="3352" y="161810"/>
                </a:lnTo>
                <a:lnTo>
                  <a:pt x="0" y="209880"/>
                </a:lnTo>
                <a:lnTo>
                  <a:pt x="0" y="665264"/>
                </a:lnTo>
                <a:lnTo>
                  <a:pt x="3200" y="712939"/>
                </a:lnTo>
                <a:lnTo>
                  <a:pt x="13106" y="756945"/>
                </a:lnTo>
                <a:lnTo>
                  <a:pt x="30238" y="795947"/>
                </a:lnTo>
                <a:lnTo>
                  <a:pt x="55067" y="828598"/>
                </a:lnTo>
                <a:lnTo>
                  <a:pt x="88074" y="853567"/>
                </a:lnTo>
                <a:lnTo>
                  <a:pt x="129768" y="869543"/>
                </a:lnTo>
                <a:lnTo>
                  <a:pt x="180632" y="875157"/>
                </a:lnTo>
                <a:lnTo>
                  <a:pt x="235788" y="868222"/>
                </a:lnTo>
                <a:lnTo>
                  <a:pt x="276517" y="849236"/>
                </a:lnTo>
                <a:lnTo>
                  <a:pt x="304596" y="820953"/>
                </a:lnTo>
                <a:lnTo>
                  <a:pt x="321830" y="786117"/>
                </a:lnTo>
                <a:lnTo>
                  <a:pt x="321830" y="868794"/>
                </a:lnTo>
                <a:lnTo>
                  <a:pt x="366344" y="868794"/>
                </a:lnTo>
                <a:lnTo>
                  <a:pt x="366344" y="437565"/>
                </a:lnTo>
                <a:lnTo>
                  <a:pt x="197167" y="437565"/>
                </a:lnTo>
                <a:lnTo>
                  <a:pt x="197167" y="480822"/>
                </a:lnTo>
                <a:lnTo>
                  <a:pt x="314185" y="480822"/>
                </a:lnTo>
                <a:lnTo>
                  <a:pt x="314185" y="688162"/>
                </a:lnTo>
                <a:lnTo>
                  <a:pt x="309613" y="734860"/>
                </a:lnTo>
                <a:lnTo>
                  <a:pt x="296252" y="774484"/>
                </a:lnTo>
                <a:lnTo>
                  <a:pt x="272338" y="805129"/>
                </a:lnTo>
                <a:lnTo>
                  <a:pt x="236080" y="824903"/>
                </a:lnTo>
                <a:lnTo>
                  <a:pt x="185724" y="831913"/>
                </a:lnTo>
                <a:lnTo>
                  <a:pt x="134708" y="823556"/>
                </a:lnTo>
                <a:lnTo>
                  <a:pt x="96939" y="800481"/>
                </a:lnTo>
                <a:lnTo>
                  <a:pt x="71323" y="765695"/>
                </a:lnTo>
                <a:lnTo>
                  <a:pt x="56769" y="722160"/>
                </a:lnTo>
                <a:lnTo>
                  <a:pt x="52158" y="672896"/>
                </a:lnTo>
                <a:lnTo>
                  <a:pt x="52158" y="202247"/>
                </a:lnTo>
                <a:lnTo>
                  <a:pt x="56908" y="152488"/>
                </a:lnTo>
                <a:lnTo>
                  <a:pt x="71856" y="108915"/>
                </a:lnTo>
                <a:lnTo>
                  <a:pt x="98031" y="74295"/>
                </a:lnTo>
                <a:lnTo>
                  <a:pt x="136486" y="51473"/>
                </a:lnTo>
                <a:lnTo>
                  <a:pt x="188264" y="43243"/>
                </a:lnTo>
                <a:lnTo>
                  <a:pt x="240563" y="49784"/>
                </a:lnTo>
                <a:lnTo>
                  <a:pt x="276999" y="68732"/>
                </a:lnTo>
                <a:lnTo>
                  <a:pt x="299999" y="99021"/>
                </a:lnTo>
                <a:lnTo>
                  <a:pt x="312000" y="139636"/>
                </a:lnTo>
                <a:lnTo>
                  <a:pt x="315468" y="189534"/>
                </a:lnTo>
                <a:lnTo>
                  <a:pt x="315468" y="269671"/>
                </a:lnTo>
                <a:lnTo>
                  <a:pt x="366344" y="269671"/>
                </a:lnTo>
                <a:lnTo>
                  <a:pt x="366344" y="193332"/>
                </a:lnTo>
                <a:close/>
              </a:path>
              <a:path w="2058670" h="875664">
                <a:moveTo>
                  <a:pt x="801408" y="868794"/>
                </a:moveTo>
                <a:lnTo>
                  <a:pt x="566089" y="454113"/>
                </a:lnTo>
                <a:lnTo>
                  <a:pt x="604240" y="454113"/>
                </a:lnTo>
                <a:lnTo>
                  <a:pt x="657491" y="449224"/>
                </a:lnTo>
                <a:lnTo>
                  <a:pt x="700443" y="434987"/>
                </a:lnTo>
                <a:lnTo>
                  <a:pt x="703999" y="432498"/>
                </a:lnTo>
                <a:lnTo>
                  <a:pt x="733348" y="411975"/>
                </a:lnTo>
                <a:lnTo>
                  <a:pt x="734174" y="410870"/>
                </a:lnTo>
                <a:lnTo>
                  <a:pt x="756500" y="380809"/>
                </a:lnTo>
                <a:lnTo>
                  <a:pt x="770191" y="342074"/>
                </a:lnTo>
                <a:lnTo>
                  <a:pt x="774687" y="296392"/>
                </a:lnTo>
                <a:lnTo>
                  <a:pt x="774560" y="160286"/>
                </a:lnTo>
                <a:lnTo>
                  <a:pt x="770204" y="115608"/>
                </a:lnTo>
                <a:lnTo>
                  <a:pt x="756589" y="77216"/>
                </a:lnTo>
                <a:lnTo>
                  <a:pt x="735812" y="49606"/>
                </a:lnTo>
                <a:lnTo>
                  <a:pt x="733666" y="46748"/>
                </a:lnTo>
                <a:lnTo>
                  <a:pt x="721258" y="38277"/>
                </a:lnTo>
                <a:lnTo>
                  <a:pt x="721258" y="160286"/>
                </a:lnTo>
                <a:lnTo>
                  <a:pt x="721258" y="300202"/>
                </a:lnTo>
                <a:lnTo>
                  <a:pt x="713841" y="347535"/>
                </a:lnTo>
                <a:lnTo>
                  <a:pt x="691527" y="382244"/>
                </a:lnTo>
                <a:lnTo>
                  <a:pt x="654189" y="403593"/>
                </a:lnTo>
                <a:lnTo>
                  <a:pt x="601700" y="410870"/>
                </a:lnTo>
                <a:lnTo>
                  <a:pt x="498665" y="410870"/>
                </a:lnTo>
                <a:lnTo>
                  <a:pt x="498665" y="49606"/>
                </a:lnTo>
                <a:lnTo>
                  <a:pt x="601700" y="49606"/>
                </a:lnTo>
                <a:lnTo>
                  <a:pt x="654189" y="56692"/>
                </a:lnTo>
                <a:lnTo>
                  <a:pt x="691527" y="77749"/>
                </a:lnTo>
                <a:lnTo>
                  <a:pt x="713841" y="112395"/>
                </a:lnTo>
                <a:lnTo>
                  <a:pt x="721258" y="160286"/>
                </a:lnTo>
                <a:lnTo>
                  <a:pt x="721258" y="38277"/>
                </a:lnTo>
                <a:lnTo>
                  <a:pt x="701192" y="24549"/>
                </a:lnTo>
                <a:lnTo>
                  <a:pt x="658977" y="10960"/>
                </a:lnTo>
                <a:lnTo>
                  <a:pt x="606793" y="6362"/>
                </a:lnTo>
                <a:lnTo>
                  <a:pt x="446506" y="6362"/>
                </a:lnTo>
                <a:lnTo>
                  <a:pt x="446506" y="868794"/>
                </a:lnTo>
                <a:lnTo>
                  <a:pt x="498665" y="868794"/>
                </a:lnTo>
                <a:lnTo>
                  <a:pt x="498665" y="432498"/>
                </a:lnTo>
                <a:lnTo>
                  <a:pt x="744169" y="868794"/>
                </a:lnTo>
                <a:lnTo>
                  <a:pt x="801408" y="868794"/>
                </a:lnTo>
                <a:close/>
              </a:path>
              <a:path w="2058670" h="875664">
                <a:moveTo>
                  <a:pt x="1218653" y="209880"/>
                </a:moveTo>
                <a:lnTo>
                  <a:pt x="1215161" y="161810"/>
                </a:lnTo>
                <a:lnTo>
                  <a:pt x="1204417" y="117652"/>
                </a:lnTo>
                <a:lnTo>
                  <a:pt x="1186014" y="78676"/>
                </a:lnTo>
                <a:lnTo>
                  <a:pt x="1166507" y="54711"/>
                </a:lnTo>
                <a:lnTo>
                  <a:pt x="1166507" y="202247"/>
                </a:lnTo>
                <a:lnTo>
                  <a:pt x="1166507" y="672896"/>
                </a:lnTo>
                <a:lnTo>
                  <a:pt x="1161491" y="722160"/>
                </a:lnTo>
                <a:lnTo>
                  <a:pt x="1145908" y="765695"/>
                </a:lnTo>
                <a:lnTo>
                  <a:pt x="1118971" y="800481"/>
                </a:lnTo>
                <a:lnTo>
                  <a:pt x="1079881" y="823556"/>
                </a:lnTo>
                <a:lnTo>
                  <a:pt x="1027849" y="831913"/>
                </a:lnTo>
                <a:lnTo>
                  <a:pt x="976439" y="823556"/>
                </a:lnTo>
                <a:lnTo>
                  <a:pt x="937729" y="800481"/>
                </a:lnTo>
                <a:lnTo>
                  <a:pt x="910983" y="765695"/>
                </a:lnTo>
                <a:lnTo>
                  <a:pt x="895477" y="722160"/>
                </a:lnTo>
                <a:lnTo>
                  <a:pt x="890473" y="672896"/>
                </a:lnTo>
                <a:lnTo>
                  <a:pt x="890473" y="202247"/>
                </a:lnTo>
                <a:lnTo>
                  <a:pt x="895477" y="152488"/>
                </a:lnTo>
                <a:lnTo>
                  <a:pt x="910983" y="108915"/>
                </a:lnTo>
                <a:lnTo>
                  <a:pt x="937729" y="74295"/>
                </a:lnTo>
                <a:lnTo>
                  <a:pt x="976439" y="51473"/>
                </a:lnTo>
                <a:lnTo>
                  <a:pt x="1027849" y="43243"/>
                </a:lnTo>
                <a:lnTo>
                  <a:pt x="1079881" y="51473"/>
                </a:lnTo>
                <a:lnTo>
                  <a:pt x="1118971" y="74295"/>
                </a:lnTo>
                <a:lnTo>
                  <a:pt x="1145908" y="108915"/>
                </a:lnTo>
                <a:lnTo>
                  <a:pt x="1161491" y="152488"/>
                </a:lnTo>
                <a:lnTo>
                  <a:pt x="1166507" y="202247"/>
                </a:lnTo>
                <a:lnTo>
                  <a:pt x="1166507" y="54711"/>
                </a:lnTo>
                <a:lnTo>
                  <a:pt x="1159560" y="46164"/>
                </a:lnTo>
                <a:lnTo>
                  <a:pt x="1155446" y="43243"/>
                </a:lnTo>
                <a:lnTo>
                  <a:pt x="1124648" y="21361"/>
                </a:lnTo>
                <a:lnTo>
                  <a:pt x="1080871" y="5549"/>
                </a:lnTo>
                <a:lnTo>
                  <a:pt x="1027849" y="0"/>
                </a:lnTo>
                <a:lnTo>
                  <a:pt x="975296" y="5549"/>
                </a:lnTo>
                <a:lnTo>
                  <a:pt x="931862" y="21361"/>
                </a:lnTo>
                <a:lnTo>
                  <a:pt x="897178" y="46164"/>
                </a:lnTo>
                <a:lnTo>
                  <a:pt x="870864" y="78676"/>
                </a:lnTo>
                <a:lnTo>
                  <a:pt x="852538" y="117652"/>
                </a:lnTo>
                <a:lnTo>
                  <a:pt x="841819" y="161810"/>
                </a:lnTo>
                <a:lnTo>
                  <a:pt x="838327" y="209880"/>
                </a:lnTo>
                <a:lnTo>
                  <a:pt x="838327" y="665264"/>
                </a:lnTo>
                <a:lnTo>
                  <a:pt x="841819" y="712939"/>
                </a:lnTo>
                <a:lnTo>
                  <a:pt x="852538" y="756945"/>
                </a:lnTo>
                <a:lnTo>
                  <a:pt x="870864" y="795947"/>
                </a:lnTo>
                <a:lnTo>
                  <a:pt x="897178" y="828598"/>
                </a:lnTo>
                <a:lnTo>
                  <a:pt x="931862" y="853567"/>
                </a:lnTo>
                <a:lnTo>
                  <a:pt x="975296" y="869543"/>
                </a:lnTo>
                <a:lnTo>
                  <a:pt x="1027849" y="875157"/>
                </a:lnTo>
                <a:lnTo>
                  <a:pt x="1080871" y="869543"/>
                </a:lnTo>
                <a:lnTo>
                  <a:pt x="1124648" y="853567"/>
                </a:lnTo>
                <a:lnTo>
                  <a:pt x="1154912" y="831913"/>
                </a:lnTo>
                <a:lnTo>
                  <a:pt x="1159560" y="828598"/>
                </a:lnTo>
                <a:lnTo>
                  <a:pt x="1186014" y="795947"/>
                </a:lnTo>
                <a:lnTo>
                  <a:pt x="1204417" y="756945"/>
                </a:lnTo>
                <a:lnTo>
                  <a:pt x="1215161" y="712939"/>
                </a:lnTo>
                <a:lnTo>
                  <a:pt x="1218653" y="665264"/>
                </a:lnTo>
                <a:lnTo>
                  <a:pt x="1218653" y="209880"/>
                </a:lnTo>
                <a:close/>
              </a:path>
              <a:path w="2058670" h="875664">
                <a:moveTo>
                  <a:pt x="1653717" y="6362"/>
                </a:moveTo>
                <a:lnTo>
                  <a:pt x="1604111" y="6362"/>
                </a:lnTo>
                <a:lnTo>
                  <a:pt x="1604111" y="680529"/>
                </a:lnTo>
                <a:lnTo>
                  <a:pt x="1599895" y="728992"/>
                </a:lnTo>
                <a:lnTo>
                  <a:pt x="1586280" y="770636"/>
                </a:lnTo>
                <a:lnTo>
                  <a:pt x="1561795" y="803173"/>
                </a:lnTo>
                <a:lnTo>
                  <a:pt x="1524977" y="824344"/>
                </a:lnTo>
                <a:lnTo>
                  <a:pt x="1474368" y="831913"/>
                </a:lnTo>
                <a:lnTo>
                  <a:pt x="1423263" y="824344"/>
                </a:lnTo>
                <a:lnTo>
                  <a:pt x="1386382" y="803173"/>
                </a:lnTo>
                <a:lnTo>
                  <a:pt x="1362075" y="770636"/>
                </a:lnTo>
                <a:lnTo>
                  <a:pt x="1348701" y="728992"/>
                </a:lnTo>
                <a:lnTo>
                  <a:pt x="1344612" y="680529"/>
                </a:lnTo>
                <a:lnTo>
                  <a:pt x="1344612" y="6362"/>
                </a:lnTo>
                <a:lnTo>
                  <a:pt x="1292466" y="6362"/>
                </a:lnTo>
                <a:lnTo>
                  <a:pt x="1292466" y="676719"/>
                </a:lnTo>
                <a:lnTo>
                  <a:pt x="1295463" y="723760"/>
                </a:lnTo>
                <a:lnTo>
                  <a:pt x="1304937" y="766127"/>
                </a:lnTo>
                <a:lnTo>
                  <a:pt x="1321600" y="802881"/>
                </a:lnTo>
                <a:lnTo>
                  <a:pt x="1346161" y="833094"/>
                </a:lnTo>
                <a:lnTo>
                  <a:pt x="1379334" y="855840"/>
                </a:lnTo>
                <a:lnTo>
                  <a:pt x="1421841" y="870165"/>
                </a:lnTo>
                <a:lnTo>
                  <a:pt x="1474368" y="875157"/>
                </a:lnTo>
                <a:lnTo>
                  <a:pt x="1525955" y="870165"/>
                </a:lnTo>
                <a:lnTo>
                  <a:pt x="1567776" y="855840"/>
                </a:lnTo>
                <a:lnTo>
                  <a:pt x="1600492" y="833094"/>
                </a:lnTo>
                <a:lnTo>
                  <a:pt x="1624774" y="802881"/>
                </a:lnTo>
                <a:lnTo>
                  <a:pt x="1641297" y="766127"/>
                </a:lnTo>
                <a:lnTo>
                  <a:pt x="1650720" y="723760"/>
                </a:lnTo>
                <a:lnTo>
                  <a:pt x="1653717" y="676719"/>
                </a:lnTo>
                <a:lnTo>
                  <a:pt x="1653717" y="6362"/>
                </a:lnTo>
                <a:close/>
              </a:path>
              <a:path w="2058670" h="875664">
                <a:moveTo>
                  <a:pt x="2058250" y="393065"/>
                </a:moveTo>
                <a:lnTo>
                  <a:pt x="2058123" y="160286"/>
                </a:lnTo>
                <a:lnTo>
                  <a:pt x="2053844" y="115608"/>
                </a:lnTo>
                <a:lnTo>
                  <a:pt x="2040445" y="77216"/>
                </a:lnTo>
                <a:lnTo>
                  <a:pt x="2006104" y="38798"/>
                </a:lnTo>
                <a:lnTo>
                  <a:pt x="2006104" y="160286"/>
                </a:lnTo>
                <a:lnTo>
                  <a:pt x="2006104" y="395592"/>
                </a:lnTo>
                <a:lnTo>
                  <a:pt x="1998484" y="443674"/>
                </a:lnTo>
                <a:lnTo>
                  <a:pt x="1975726" y="478751"/>
                </a:lnTo>
                <a:lnTo>
                  <a:pt x="1937943" y="500240"/>
                </a:lnTo>
                <a:lnTo>
                  <a:pt x="1885264" y="507542"/>
                </a:lnTo>
                <a:lnTo>
                  <a:pt x="1780959" y="507542"/>
                </a:lnTo>
                <a:lnTo>
                  <a:pt x="1780959" y="49606"/>
                </a:lnTo>
                <a:lnTo>
                  <a:pt x="1885264" y="49606"/>
                </a:lnTo>
                <a:lnTo>
                  <a:pt x="1937943" y="56692"/>
                </a:lnTo>
                <a:lnTo>
                  <a:pt x="1975726" y="77749"/>
                </a:lnTo>
                <a:lnTo>
                  <a:pt x="1998484" y="112395"/>
                </a:lnTo>
                <a:lnTo>
                  <a:pt x="2006104" y="160286"/>
                </a:lnTo>
                <a:lnTo>
                  <a:pt x="2006104" y="38798"/>
                </a:lnTo>
                <a:lnTo>
                  <a:pt x="1985327" y="24549"/>
                </a:lnTo>
                <a:lnTo>
                  <a:pt x="1942973" y="10960"/>
                </a:lnTo>
                <a:lnTo>
                  <a:pt x="1890356" y="6362"/>
                </a:lnTo>
                <a:lnTo>
                  <a:pt x="1728800" y="6362"/>
                </a:lnTo>
                <a:lnTo>
                  <a:pt x="1728800" y="868794"/>
                </a:lnTo>
                <a:lnTo>
                  <a:pt x="1780959" y="868794"/>
                </a:lnTo>
                <a:lnTo>
                  <a:pt x="1780959" y="549516"/>
                </a:lnTo>
                <a:lnTo>
                  <a:pt x="1890356" y="549516"/>
                </a:lnTo>
                <a:lnTo>
                  <a:pt x="1942973" y="544728"/>
                </a:lnTo>
                <a:lnTo>
                  <a:pt x="1985327" y="530707"/>
                </a:lnTo>
                <a:lnTo>
                  <a:pt x="2017699" y="508012"/>
                </a:lnTo>
                <a:lnTo>
                  <a:pt x="2040445" y="477151"/>
                </a:lnTo>
                <a:lnTo>
                  <a:pt x="2053844" y="438658"/>
                </a:lnTo>
                <a:lnTo>
                  <a:pt x="2058250" y="393065"/>
                </a:lnTo>
                <a:close/>
              </a:path>
            </a:pathLst>
          </a:custGeom>
          <a:solidFill>
            <a:srgbClr val="1F63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bg object 31"/>
          <p:cNvSpPr/>
          <p:nvPr/>
        </p:nvSpPr>
        <p:spPr>
          <a:xfrm>
            <a:off x="1291234" y="3773601"/>
            <a:ext cx="2807970" cy="875665"/>
          </a:xfrm>
          <a:custGeom>
            <a:avLst/>
            <a:gdLst/>
            <a:ahLst/>
            <a:cxnLst/>
            <a:rect l="l" t="t" r="r" b="b"/>
            <a:pathLst>
              <a:path w="2807970" h="875664">
                <a:moveTo>
                  <a:pt x="591489" y="6362"/>
                </a:moveTo>
                <a:lnTo>
                  <a:pt x="543153" y="6362"/>
                </a:lnTo>
                <a:lnTo>
                  <a:pt x="442658" y="749223"/>
                </a:lnTo>
                <a:lnTo>
                  <a:pt x="441388" y="749223"/>
                </a:lnTo>
                <a:lnTo>
                  <a:pt x="321818" y="6362"/>
                </a:lnTo>
                <a:lnTo>
                  <a:pt x="273481" y="6362"/>
                </a:lnTo>
                <a:lnTo>
                  <a:pt x="153911" y="751776"/>
                </a:lnTo>
                <a:lnTo>
                  <a:pt x="152641" y="751776"/>
                </a:lnTo>
                <a:lnTo>
                  <a:pt x="50876" y="6362"/>
                </a:lnTo>
                <a:lnTo>
                  <a:pt x="0" y="6362"/>
                </a:lnTo>
                <a:lnTo>
                  <a:pt x="119570" y="868794"/>
                </a:lnTo>
                <a:lnTo>
                  <a:pt x="178079" y="868794"/>
                </a:lnTo>
                <a:lnTo>
                  <a:pt x="295109" y="148831"/>
                </a:lnTo>
                <a:lnTo>
                  <a:pt x="296379" y="148831"/>
                </a:lnTo>
                <a:lnTo>
                  <a:pt x="413410" y="868794"/>
                </a:lnTo>
                <a:lnTo>
                  <a:pt x="471919" y="868794"/>
                </a:lnTo>
                <a:lnTo>
                  <a:pt x="591489" y="6362"/>
                </a:lnTo>
                <a:close/>
              </a:path>
              <a:path w="2807970" h="875664">
                <a:moveTo>
                  <a:pt x="1007478" y="209880"/>
                </a:moveTo>
                <a:lnTo>
                  <a:pt x="1003985" y="161810"/>
                </a:lnTo>
                <a:lnTo>
                  <a:pt x="993228" y="117652"/>
                </a:lnTo>
                <a:lnTo>
                  <a:pt x="974839" y="78676"/>
                </a:lnTo>
                <a:lnTo>
                  <a:pt x="955332" y="54711"/>
                </a:lnTo>
                <a:lnTo>
                  <a:pt x="955332" y="202247"/>
                </a:lnTo>
                <a:lnTo>
                  <a:pt x="955332" y="672896"/>
                </a:lnTo>
                <a:lnTo>
                  <a:pt x="950315" y="722160"/>
                </a:lnTo>
                <a:lnTo>
                  <a:pt x="934732" y="765695"/>
                </a:lnTo>
                <a:lnTo>
                  <a:pt x="907796" y="800481"/>
                </a:lnTo>
                <a:lnTo>
                  <a:pt x="868705" y="823556"/>
                </a:lnTo>
                <a:lnTo>
                  <a:pt x="816673" y="831913"/>
                </a:lnTo>
                <a:lnTo>
                  <a:pt x="765263" y="823556"/>
                </a:lnTo>
                <a:lnTo>
                  <a:pt x="726554" y="800481"/>
                </a:lnTo>
                <a:lnTo>
                  <a:pt x="699808" y="765695"/>
                </a:lnTo>
                <a:lnTo>
                  <a:pt x="684301" y="722160"/>
                </a:lnTo>
                <a:lnTo>
                  <a:pt x="679297" y="672896"/>
                </a:lnTo>
                <a:lnTo>
                  <a:pt x="679297" y="202247"/>
                </a:lnTo>
                <a:lnTo>
                  <a:pt x="684301" y="152488"/>
                </a:lnTo>
                <a:lnTo>
                  <a:pt x="699808" y="108915"/>
                </a:lnTo>
                <a:lnTo>
                  <a:pt x="726554" y="74295"/>
                </a:lnTo>
                <a:lnTo>
                  <a:pt x="765263" y="51473"/>
                </a:lnTo>
                <a:lnTo>
                  <a:pt x="816673" y="43243"/>
                </a:lnTo>
                <a:lnTo>
                  <a:pt x="868705" y="51473"/>
                </a:lnTo>
                <a:lnTo>
                  <a:pt x="907796" y="74295"/>
                </a:lnTo>
                <a:lnTo>
                  <a:pt x="934732" y="108915"/>
                </a:lnTo>
                <a:lnTo>
                  <a:pt x="950315" y="152488"/>
                </a:lnTo>
                <a:lnTo>
                  <a:pt x="955332" y="202247"/>
                </a:lnTo>
                <a:lnTo>
                  <a:pt x="955332" y="54711"/>
                </a:lnTo>
                <a:lnTo>
                  <a:pt x="948385" y="46164"/>
                </a:lnTo>
                <a:lnTo>
                  <a:pt x="944270" y="43243"/>
                </a:lnTo>
                <a:lnTo>
                  <a:pt x="913472" y="21361"/>
                </a:lnTo>
                <a:lnTo>
                  <a:pt x="869696" y="5549"/>
                </a:lnTo>
                <a:lnTo>
                  <a:pt x="816673" y="0"/>
                </a:lnTo>
                <a:lnTo>
                  <a:pt x="764108" y="5549"/>
                </a:lnTo>
                <a:lnTo>
                  <a:pt x="720686" y="21361"/>
                </a:lnTo>
                <a:lnTo>
                  <a:pt x="686003" y="46164"/>
                </a:lnTo>
                <a:lnTo>
                  <a:pt x="659688" y="78676"/>
                </a:lnTo>
                <a:lnTo>
                  <a:pt x="641350" y="117652"/>
                </a:lnTo>
                <a:lnTo>
                  <a:pt x="630631" y="161810"/>
                </a:lnTo>
                <a:lnTo>
                  <a:pt x="627151" y="209880"/>
                </a:lnTo>
                <a:lnTo>
                  <a:pt x="627151" y="665264"/>
                </a:lnTo>
                <a:lnTo>
                  <a:pt x="630631" y="712939"/>
                </a:lnTo>
                <a:lnTo>
                  <a:pt x="641350" y="756945"/>
                </a:lnTo>
                <a:lnTo>
                  <a:pt x="659688" y="795947"/>
                </a:lnTo>
                <a:lnTo>
                  <a:pt x="686003" y="828598"/>
                </a:lnTo>
                <a:lnTo>
                  <a:pt x="720686" y="853567"/>
                </a:lnTo>
                <a:lnTo>
                  <a:pt x="764108" y="869543"/>
                </a:lnTo>
                <a:lnTo>
                  <a:pt x="816673" y="875157"/>
                </a:lnTo>
                <a:lnTo>
                  <a:pt x="869696" y="869543"/>
                </a:lnTo>
                <a:lnTo>
                  <a:pt x="913472" y="853567"/>
                </a:lnTo>
                <a:lnTo>
                  <a:pt x="943737" y="831913"/>
                </a:lnTo>
                <a:lnTo>
                  <a:pt x="948385" y="828598"/>
                </a:lnTo>
                <a:lnTo>
                  <a:pt x="974839" y="795947"/>
                </a:lnTo>
                <a:lnTo>
                  <a:pt x="993228" y="756945"/>
                </a:lnTo>
                <a:lnTo>
                  <a:pt x="1003985" y="712939"/>
                </a:lnTo>
                <a:lnTo>
                  <a:pt x="1007478" y="665264"/>
                </a:lnTo>
                <a:lnTo>
                  <a:pt x="1007478" y="209880"/>
                </a:lnTo>
                <a:close/>
              </a:path>
              <a:path w="2807970" h="875664">
                <a:moveTo>
                  <a:pt x="1437462" y="868794"/>
                </a:moveTo>
                <a:lnTo>
                  <a:pt x="1202131" y="454113"/>
                </a:lnTo>
                <a:lnTo>
                  <a:pt x="1240294" y="454113"/>
                </a:lnTo>
                <a:lnTo>
                  <a:pt x="1293545" y="449224"/>
                </a:lnTo>
                <a:lnTo>
                  <a:pt x="1336484" y="434987"/>
                </a:lnTo>
                <a:lnTo>
                  <a:pt x="1369390" y="411975"/>
                </a:lnTo>
                <a:lnTo>
                  <a:pt x="1392555" y="380809"/>
                </a:lnTo>
                <a:lnTo>
                  <a:pt x="1406232" y="342074"/>
                </a:lnTo>
                <a:lnTo>
                  <a:pt x="1410741" y="296392"/>
                </a:lnTo>
                <a:lnTo>
                  <a:pt x="1410614" y="160286"/>
                </a:lnTo>
                <a:lnTo>
                  <a:pt x="1406245" y="115608"/>
                </a:lnTo>
                <a:lnTo>
                  <a:pt x="1392643" y="77216"/>
                </a:lnTo>
                <a:lnTo>
                  <a:pt x="1371854" y="49606"/>
                </a:lnTo>
                <a:lnTo>
                  <a:pt x="1369707" y="46748"/>
                </a:lnTo>
                <a:lnTo>
                  <a:pt x="1357312" y="38277"/>
                </a:lnTo>
                <a:lnTo>
                  <a:pt x="1357312" y="160286"/>
                </a:lnTo>
                <a:lnTo>
                  <a:pt x="1357312" y="300202"/>
                </a:lnTo>
                <a:lnTo>
                  <a:pt x="1349895" y="347535"/>
                </a:lnTo>
                <a:lnTo>
                  <a:pt x="1327581" y="382244"/>
                </a:lnTo>
                <a:lnTo>
                  <a:pt x="1290231" y="403593"/>
                </a:lnTo>
                <a:lnTo>
                  <a:pt x="1237754" y="410870"/>
                </a:lnTo>
                <a:lnTo>
                  <a:pt x="1134719" y="410870"/>
                </a:lnTo>
                <a:lnTo>
                  <a:pt x="1134719" y="49606"/>
                </a:lnTo>
                <a:lnTo>
                  <a:pt x="1237754" y="49606"/>
                </a:lnTo>
                <a:lnTo>
                  <a:pt x="1290231" y="56692"/>
                </a:lnTo>
                <a:lnTo>
                  <a:pt x="1327581" y="77749"/>
                </a:lnTo>
                <a:lnTo>
                  <a:pt x="1349895" y="112395"/>
                </a:lnTo>
                <a:lnTo>
                  <a:pt x="1357312" y="160286"/>
                </a:lnTo>
                <a:lnTo>
                  <a:pt x="1357312" y="38277"/>
                </a:lnTo>
                <a:lnTo>
                  <a:pt x="1337233" y="24549"/>
                </a:lnTo>
                <a:lnTo>
                  <a:pt x="1295019" y="10960"/>
                </a:lnTo>
                <a:lnTo>
                  <a:pt x="1242834" y="6362"/>
                </a:lnTo>
                <a:lnTo>
                  <a:pt x="1082560" y="6362"/>
                </a:lnTo>
                <a:lnTo>
                  <a:pt x="1082560" y="868794"/>
                </a:lnTo>
                <a:lnTo>
                  <a:pt x="1134719" y="868794"/>
                </a:lnTo>
                <a:lnTo>
                  <a:pt x="1134719" y="432498"/>
                </a:lnTo>
                <a:lnTo>
                  <a:pt x="1380223" y="868794"/>
                </a:lnTo>
                <a:lnTo>
                  <a:pt x="1437462" y="868794"/>
                </a:lnTo>
                <a:close/>
              </a:path>
              <a:path w="2807970" h="875664">
                <a:moveTo>
                  <a:pt x="1840712" y="868794"/>
                </a:moveTo>
                <a:lnTo>
                  <a:pt x="1586306" y="422300"/>
                </a:lnTo>
                <a:lnTo>
                  <a:pt x="1839442" y="6350"/>
                </a:lnTo>
                <a:lnTo>
                  <a:pt x="1784756" y="6350"/>
                </a:lnTo>
                <a:lnTo>
                  <a:pt x="1534160" y="418503"/>
                </a:lnTo>
                <a:lnTo>
                  <a:pt x="1534160" y="6350"/>
                </a:lnTo>
                <a:lnTo>
                  <a:pt x="1482001" y="6350"/>
                </a:lnTo>
                <a:lnTo>
                  <a:pt x="1482001" y="868794"/>
                </a:lnTo>
                <a:lnTo>
                  <a:pt x="1534160" y="868794"/>
                </a:lnTo>
                <a:lnTo>
                  <a:pt x="1534160" y="435025"/>
                </a:lnTo>
                <a:lnTo>
                  <a:pt x="1786013" y="868794"/>
                </a:lnTo>
                <a:lnTo>
                  <a:pt x="1840712" y="868794"/>
                </a:lnTo>
                <a:close/>
              </a:path>
              <a:path w="2807970" h="875664">
                <a:moveTo>
                  <a:pt x="1937410" y="6350"/>
                </a:moveTo>
                <a:lnTo>
                  <a:pt x="1885251" y="6350"/>
                </a:lnTo>
                <a:lnTo>
                  <a:pt x="1885251" y="868781"/>
                </a:lnTo>
                <a:lnTo>
                  <a:pt x="1937410" y="868781"/>
                </a:lnTo>
                <a:lnTo>
                  <a:pt x="1937410" y="6350"/>
                </a:lnTo>
                <a:close/>
              </a:path>
              <a:path w="2807970" h="875664">
                <a:moveTo>
                  <a:pt x="2364803" y="6350"/>
                </a:moveTo>
                <a:lnTo>
                  <a:pt x="2319007" y="6350"/>
                </a:lnTo>
                <a:lnTo>
                  <a:pt x="2319007" y="733945"/>
                </a:lnTo>
                <a:lnTo>
                  <a:pt x="2072233" y="6350"/>
                </a:lnTo>
                <a:lnTo>
                  <a:pt x="2014994" y="6350"/>
                </a:lnTo>
                <a:lnTo>
                  <a:pt x="2014994" y="868781"/>
                </a:lnTo>
                <a:lnTo>
                  <a:pt x="2062060" y="868781"/>
                </a:lnTo>
                <a:lnTo>
                  <a:pt x="2062060" y="119570"/>
                </a:lnTo>
                <a:lnTo>
                  <a:pt x="2313914" y="868781"/>
                </a:lnTo>
                <a:lnTo>
                  <a:pt x="2364803" y="868781"/>
                </a:lnTo>
                <a:lnTo>
                  <a:pt x="2364803" y="6350"/>
                </a:lnTo>
                <a:close/>
              </a:path>
              <a:path w="2807970" h="875664">
                <a:moveTo>
                  <a:pt x="2807487" y="193332"/>
                </a:moveTo>
                <a:lnTo>
                  <a:pt x="2804896" y="145783"/>
                </a:lnTo>
                <a:lnTo>
                  <a:pt x="2796413" y="103835"/>
                </a:lnTo>
                <a:lnTo>
                  <a:pt x="2780957" y="68110"/>
                </a:lnTo>
                <a:lnTo>
                  <a:pt x="2724886" y="17856"/>
                </a:lnTo>
                <a:lnTo>
                  <a:pt x="2682125" y="4572"/>
                </a:lnTo>
                <a:lnTo>
                  <a:pt x="2628138" y="0"/>
                </a:lnTo>
                <a:lnTo>
                  <a:pt x="2575725" y="5549"/>
                </a:lnTo>
                <a:lnTo>
                  <a:pt x="2532659" y="21361"/>
                </a:lnTo>
                <a:lnTo>
                  <a:pt x="2498471" y="46164"/>
                </a:lnTo>
                <a:lnTo>
                  <a:pt x="2472690" y="78676"/>
                </a:lnTo>
                <a:lnTo>
                  <a:pt x="2454859" y="117652"/>
                </a:lnTo>
                <a:lnTo>
                  <a:pt x="2444496" y="161810"/>
                </a:lnTo>
                <a:lnTo>
                  <a:pt x="2441143" y="209880"/>
                </a:lnTo>
                <a:lnTo>
                  <a:pt x="2441143" y="665264"/>
                </a:lnTo>
                <a:lnTo>
                  <a:pt x="2444343" y="712939"/>
                </a:lnTo>
                <a:lnTo>
                  <a:pt x="2454262" y="756945"/>
                </a:lnTo>
                <a:lnTo>
                  <a:pt x="2471394" y="795947"/>
                </a:lnTo>
                <a:lnTo>
                  <a:pt x="2496210" y="828598"/>
                </a:lnTo>
                <a:lnTo>
                  <a:pt x="2529230" y="853567"/>
                </a:lnTo>
                <a:lnTo>
                  <a:pt x="2570924" y="869543"/>
                </a:lnTo>
                <a:lnTo>
                  <a:pt x="2621775" y="875157"/>
                </a:lnTo>
                <a:lnTo>
                  <a:pt x="2676931" y="868222"/>
                </a:lnTo>
                <a:lnTo>
                  <a:pt x="2717660" y="849236"/>
                </a:lnTo>
                <a:lnTo>
                  <a:pt x="2745752" y="820953"/>
                </a:lnTo>
                <a:lnTo>
                  <a:pt x="2762974" y="786117"/>
                </a:lnTo>
                <a:lnTo>
                  <a:pt x="2762974" y="868794"/>
                </a:lnTo>
                <a:lnTo>
                  <a:pt x="2807487" y="868794"/>
                </a:lnTo>
                <a:lnTo>
                  <a:pt x="2807487" y="437565"/>
                </a:lnTo>
                <a:lnTo>
                  <a:pt x="2638310" y="437565"/>
                </a:lnTo>
                <a:lnTo>
                  <a:pt x="2638310" y="480822"/>
                </a:lnTo>
                <a:lnTo>
                  <a:pt x="2755341" y="480822"/>
                </a:lnTo>
                <a:lnTo>
                  <a:pt x="2755341" y="688162"/>
                </a:lnTo>
                <a:lnTo>
                  <a:pt x="2750769" y="734860"/>
                </a:lnTo>
                <a:lnTo>
                  <a:pt x="2737408" y="774484"/>
                </a:lnTo>
                <a:lnTo>
                  <a:pt x="2713482" y="805129"/>
                </a:lnTo>
                <a:lnTo>
                  <a:pt x="2677236" y="824903"/>
                </a:lnTo>
                <a:lnTo>
                  <a:pt x="2626868" y="831913"/>
                </a:lnTo>
                <a:lnTo>
                  <a:pt x="2575852" y="823556"/>
                </a:lnTo>
                <a:lnTo>
                  <a:pt x="2538095" y="800481"/>
                </a:lnTo>
                <a:lnTo>
                  <a:pt x="2512479" y="765695"/>
                </a:lnTo>
                <a:lnTo>
                  <a:pt x="2497912" y="722160"/>
                </a:lnTo>
                <a:lnTo>
                  <a:pt x="2493302" y="672896"/>
                </a:lnTo>
                <a:lnTo>
                  <a:pt x="2493302" y="202247"/>
                </a:lnTo>
                <a:lnTo>
                  <a:pt x="2498064" y="152488"/>
                </a:lnTo>
                <a:lnTo>
                  <a:pt x="2513012" y="108915"/>
                </a:lnTo>
                <a:lnTo>
                  <a:pt x="2539187" y="74295"/>
                </a:lnTo>
                <a:lnTo>
                  <a:pt x="2577642" y="51473"/>
                </a:lnTo>
                <a:lnTo>
                  <a:pt x="2629408" y="43243"/>
                </a:lnTo>
                <a:lnTo>
                  <a:pt x="2681719" y="49784"/>
                </a:lnTo>
                <a:lnTo>
                  <a:pt x="2718143" y="68732"/>
                </a:lnTo>
                <a:lnTo>
                  <a:pt x="2741142" y="99021"/>
                </a:lnTo>
                <a:lnTo>
                  <a:pt x="2753156" y="139636"/>
                </a:lnTo>
                <a:lnTo>
                  <a:pt x="2756611" y="189534"/>
                </a:lnTo>
                <a:lnTo>
                  <a:pt x="2756611" y="269671"/>
                </a:lnTo>
                <a:lnTo>
                  <a:pt x="2807487" y="269671"/>
                </a:lnTo>
                <a:lnTo>
                  <a:pt x="2807487" y="193332"/>
                </a:lnTo>
                <a:close/>
              </a:path>
            </a:pathLst>
          </a:custGeom>
          <a:solidFill>
            <a:srgbClr val="6DCFF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bg object 32"/>
          <p:cNvSpPr/>
          <p:nvPr/>
        </p:nvSpPr>
        <p:spPr>
          <a:xfrm>
            <a:off x="3834546" y="3773587"/>
            <a:ext cx="254635" cy="170180"/>
          </a:xfrm>
          <a:custGeom>
            <a:avLst/>
            <a:gdLst/>
            <a:ahLst/>
            <a:cxnLst/>
            <a:rect l="l" t="t" r="r" b="b"/>
            <a:pathLst>
              <a:path w="254635" h="170179">
                <a:moveTo>
                  <a:pt x="184657" y="0"/>
                </a:moveTo>
                <a:lnTo>
                  <a:pt x="130849" y="5880"/>
                </a:lnTo>
                <a:lnTo>
                  <a:pt x="86937" y="22598"/>
                </a:lnTo>
                <a:lnTo>
                  <a:pt x="52409" y="48768"/>
                </a:lnTo>
                <a:lnTo>
                  <a:pt x="26752" y="83001"/>
                </a:lnTo>
                <a:lnTo>
                  <a:pt x="9453" y="123913"/>
                </a:lnTo>
                <a:lnTo>
                  <a:pt x="0" y="170116"/>
                </a:lnTo>
                <a:lnTo>
                  <a:pt x="51727" y="170116"/>
                </a:lnTo>
                <a:lnTo>
                  <a:pt x="64368" y="120090"/>
                </a:lnTo>
                <a:lnTo>
                  <a:pt x="90047" y="79833"/>
                </a:lnTo>
                <a:lnTo>
                  <a:pt x="130117" y="53000"/>
                </a:lnTo>
                <a:lnTo>
                  <a:pt x="185927" y="43243"/>
                </a:lnTo>
                <a:lnTo>
                  <a:pt x="206074" y="44074"/>
                </a:lnTo>
                <a:lnTo>
                  <a:pt x="224067" y="46520"/>
                </a:lnTo>
                <a:lnTo>
                  <a:pt x="240043" y="50508"/>
                </a:lnTo>
                <a:lnTo>
                  <a:pt x="254139" y="55968"/>
                </a:lnTo>
                <a:lnTo>
                  <a:pt x="254139" y="8128"/>
                </a:lnTo>
                <a:lnTo>
                  <a:pt x="238684" y="4618"/>
                </a:lnTo>
                <a:lnTo>
                  <a:pt x="221984" y="2073"/>
                </a:lnTo>
                <a:lnTo>
                  <a:pt x="203992" y="523"/>
                </a:lnTo>
                <a:lnTo>
                  <a:pt x="184657" y="0"/>
                </a:lnTo>
                <a:close/>
              </a:path>
            </a:pathLst>
          </a:custGeom>
          <a:solidFill>
            <a:srgbClr val="1F63A4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3" name="bg object 33"/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3690460" y="2897289"/>
            <a:ext cx="487979" cy="199224"/>
          </a:xfrm>
          <a:prstGeom prst="rect">
            <a:avLst/>
          </a:prstGeom>
        </p:spPr>
      </p:pic>
      <p:sp>
        <p:nvSpPr>
          <p:cNvPr id="34" name="bg object 34"/>
          <p:cNvSpPr/>
          <p:nvPr/>
        </p:nvSpPr>
        <p:spPr>
          <a:xfrm>
            <a:off x="3143148" y="3165995"/>
            <a:ext cx="1039494" cy="467995"/>
          </a:xfrm>
          <a:custGeom>
            <a:avLst/>
            <a:gdLst/>
            <a:ahLst/>
            <a:cxnLst/>
            <a:rect l="l" t="t" r="r" b="b"/>
            <a:pathLst>
              <a:path w="1039495" h="467995">
                <a:moveTo>
                  <a:pt x="68808" y="175996"/>
                </a:moveTo>
                <a:lnTo>
                  <a:pt x="25336" y="175996"/>
                </a:lnTo>
                <a:lnTo>
                  <a:pt x="25336" y="2006"/>
                </a:lnTo>
                <a:lnTo>
                  <a:pt x="0" y="2006"/>
                </a:lnTo>
                <a:lnTo>
                  <a:pt x="0" y="175996"/>
                </a:lnTo>
                <a:lnTo>
                  <a:pt x="0" y="197586"/>
                </a:lnTo>
                <a:lnTo>
                  <a:pt x="68808" y="197586"/>
                </a:lnTo>
                <a:lnTo>
                  <a:pt x="68808" y="175996"/>
                </a:lnTo>
                <a:close/>
              </a:path>
              <a:path w="1039495" h="467995">
                <a:moveTo>
                  <a:pt x="154038" y="2006"/>
                </a:moveTo>
                <a:lnTo>
                  <a:pt x="129565" y="2006"/>
                </a:lnTo>
                <a:lnTo>
                  <a:pt x="105956" y="86931"/>
                </a:lnTo>
                <a:lnTo>
                  <a:pt x="105664" y="86931"/>
                </a:lnTo>
                <a:lnTo>
                  <a:pt x="81762" y="2006"/>
                </a:lnTo>
                <a:lnTo>
                  <a:pt x="55575" y="2006"/>
                </a:lnTo>
                <a:lnTo>
                  <a:pt x="92138" y="122923"/>
                </a:lnTo>
                <a:lnTo>
                  <a:pt x="92138" y="197205"/>
                </a:lnTo>
                <a:lnTo>
                  <a:pt x="117475" y="197205"/>
                </a:lnTo>
                <a:lnTo>
                  <a:pt x="117475" y="122923"/>
                </a:lnTo>
                <a:lnTo>
                  <a:pt x="154038" y="2006"/>
                </a:lnTo>
                <a:close/>
              </a:path>
              <a:path w="1039495" h="467995">
                <a:moveTo>
                  <a:pt x="278396" y="2006"/>
                </a:moveTo>
                <a:lnTo>
                  <a:pt x="244436" y="2006"/>
                </a:lnTo>
                <a:lnTo>
                  <a:pt x="220535" y="130695"/>
                </a:lnTo>
                <a:lnTo>
                  <a:pt x="220243" y="130695"/>
                </a:lnTo>
                <a:lnTo>
                  <a:pt x="194906" y="2006"/>
                </a:lnTo>
                <a:lnTo>
                  <a:pt x="163817" y="2006"/>
                </a:lnTo>
                <a:lnTo>
                  <a:pt x="163817" y="197205"/>
                </a:lnTo>
                <a:lnTo>
                  <a:pt x="185127" y="197205"/>
                </a:lnTo>
                <a:lnTo>
                  <a:pt x="185127" y="54114"/>
                </a:lnTo>
                <a:lnTo>
                  <a:pt x="185699" y="54114"/>
                </a:lnTo>
                <a:lnTo>
                  <a:pt x="213906" y="197205"/>
                </a:lnTo>
                <a:lnTo>
                  <a:pt x="226580" y="197205"/>
                </a:lnTo>
                <a:lnTo>
                  <a:pt x="253644" y="54114"/>
                </a:lnTo>
                <a:lnTo>
                  <a:pt x="254508" y="54114"/>
                </a:lnTo>
                <a:lnTo>
                  <a:pt x="254508" y="197205"/>
                </a:lnTo>
                <a:lnTo>
                  <a:pt x="278396" y="197205"/>
                </a:lnTo>
                <a:lnTo>
                  <a:pt x="278396" y="2006"/>
                </a:lnTo>
                <a:close/>
              </a:path>
              <a:path w="1039495" h="467995">
                <a:moveTo>
                  <a:pt x="370243" y="444703"/>
                </a:moveTo>
                <a:lnTo>
                  <a:pt x="326771" y="444703"/>
                </a:lnTo>
                <a:lnTo>
                  <a:pt x="326771" y="270713"/>
                </a:lnTo>
                <a:lnTo>
                  <a:pt x="301434" y="270713"/>
                </a:lnTo>
                <a:lnTo>
                  <a:pt x="301434" y="444703"/>
                </a:lnTo>
                <a:lnTo>
                  <a:pt x="301434" y="466293"/>
                </a:lnTo>
                <a:lnTo>
                  <a:pt x="370243" y="466293"/>
                </a:lnTo>
                <a:lnTo>
                  <a:pt x="370243" y="444703"/>
                </a:lnTo>
                <a:close/>
              </a:path>
              <a:path w="1039495" h="467995">
                <a:moveTo>
                  <a:pt x="380314" y="87795"/>
                </a:moveTo>
                <a:lnTo>
                  <a:pt x="380199" y="41744"/>
                </a:lnTo>
                <a:lnTo>
                  <a:pt x="357479" y="4749"/>
                </a:lnTo>
                <a:lnTo>
                  <a:pt x="355269" y="4445"/>
                </a:lnTo>
                <a:lnTo>
                  <a:pt x="355269" y="41744"/>
                </a:lnTo>
                <a:lnTo>
                  <a:pt x="355269" y="89535"/>
                </a:lnTo>
                <a:lnTo>
                  <a:pt x="354063" y="97929"/>
                </a:lnTo>
                <a:lnTo>
                  <a:pt x="350380" y="104063"/>
                </a:lnTo>
                <a:lnTo>
                  <a:pt x="344093" y="107835"/>
                </a:lnTo>
                <a:lnTo>
                  <a:pt x="335114" y="109105"/>
                </a:lnTo>
                <a:lnTo>
                  <a:pt x="318998" y="109105"/>
                </a:lnTo>
                <a:lnTo>
                  <a:pt x="318998" y="22733"/>
                </a:lnTo>
                <a:lnTo>
                  <a:pt x="335114" y="22733"/>
                </a:lnTo>
                <a:lnTo>
                  <a:pt x="344093" y="23926"/>
                </a:lnTo>
                <a:lnTo>
                  <a:pt x="350380" y="27495"/>
                </a:lnTo>
                <a:lnTo>
                  <a:pt x="354063" y="33439"/>
                </a:lnTo>
                <a:lnTo>
                  <a:pt x="355269" y="41744"/>
                </a:lnTo>
                <a:lnTo>
                  <a:pt x="355269" y="4445"/>
                </a:lnTo>
                <a:lnTo>
                  <a:pt x="337997" y="2006"/>
                </a:lnTo>
                <a:lnTo>
                  <a:pt x="293662" y="2006"/>
                </a:lnTo>
                <a:lnTo>
                  <a:pt x="293662" y="197192"/>
                </a:lnTo>
                <a:lnTo>
                  <a:pt x="318998" y="197192"/>
                </a:lnTo>
                <a:lnTo>
                  <a:pt x="318998" y="128968"/>
                </a:lnTo>
                <a:lnTo>
                  <a:pt x="337997" y="128968"/>
                </a:lnTo>
                <a:lnTo>
                  <a:pt x="357479" y="126098"/>
                </a:lnTo>
                <a:lnTo>
                  <a:pt x="370598" y="117894"/>
                </a:lnTo>
                <a:lnTo>
                  <a:pt x="375602" y="109105"/>
                </a:lnTo>
                <a:lnTo>
                  <a:pt x="377990" y="104927"/>
                </a:lnTo>
                <a:lnTo>
                  <a:pt x="380314" y="87795"/>
                </a:lnTo>
                <a:close/>
              </a:path>
              <a:path w="1039495" h="467995">
                <a:moveTo>
                  <a:pt x="456615" y="270713"/>
                </a:moveTo>
                <a:lnTo>
                  <a:pt x="381469" y="270713"/>
                </a:lnTo>
                <a:lnTo>
                  <a:pt x="381469" y="465912"/>
                </a:lnTo>
                <a:lnTo>
                  <a:pt x="456615" y="465912"/>
                </a:lnTo>
                <a:lnTo>
                  <a:pt x="456615" y="445173"/>
                </a:lnTo>
                <a:lnTo>
                  <a:pt x="406806" y="445173"/>
                </a:lnTo>
                <a:lnTo>
                  <a:pt x="406806" y="376948"/>
                </a:lnTo>
                <a:lnTo>
                  <a:pt x="442798" y="376948"/>
                </a:lnTo>
                <a:lnTo>
                  <a:pt x="442798" y="356501"/>
                </a:lnTo>
                <a:lnTo>
                  <a:pt x="406806" y="356501"/>
                </a:lnTo>
                <a:lnTo>
                  <a:pt x="406806" y="291439"/>
                </a:lnTo>
                <a:lnTo>
                  <a:pt x="456615" y="291439"/>
                </a:lnTo>
                <a:lnTo>
                  <a:pt x="456615" y="270713"/>
                </a:lnTo>
                <a:close/>
              </a:path>
              <a:path w="1039495" h="467995">
                <a:moveTo>
                  <a:pt x="485686" y="1562"/>
                </a:moveTo>
                <a:lnTo>
                  <a:pt x="460057" y="1562"/>
                </a:lnTo>
                <a:lnTo>
                  <a:pt x="460057" y="87922"/>
                </a:lnTo>
                <a:lnTo>
                  <a:pt x="419468" y="87922"/>
                </a:lnTo>
                <a:lnTo>
                  <a:pt x="419468" y="1562"/>
                </a:lnTo>
                <a:lnTo>
                  <a:pt x="394131" y="1562"/>
                </a:lnTo>
                <a:lnTo>
                  <a:pt x="394131" y="87922"/>
                </a:lnTo>
                <a:lnTo>
                  <a:pt x="394131" y="108242"/>
                </a:lnTo>
                <a:lnTo>
                  <a:pt x="394131" y="197142"/>
                </a:lnTo>
                <a:lnTo>
                  <a:pt x="419468" y="197142"/>
                </a:lnTo>
                <a:lnTo>
                  <a:pt x="419468" y="108242"/>
                </a:lnTo>
                <a:lnTo>
                  <a:pt x="460057" y="108242"/>
                </a:lnTo>
                <a:lnTo>
                  <a:pt x="460057" y="197142"/>
                </a:lnTo>
                <a:lnTo>
                  <a:pt x="485686" y="197142"/>
                </a:lnTo>
                <a:lnTo>
                  <a:pt x="485686" y="108242"/>
                </a:lnTo>
                <a:lnTo>
                  <a:pt x="485686" y="87922"/>
                </a:lnTo>
                <a:lnTo>
                  <a:pt x="485686" y="1562"/>
                </a:lnTo>
                <a:close/>
              </a:path>
              <a:path w="1039495" h="467995">
                <a:moveTo>
                  <a:pt x="561124" y="270713"/>
                </a:moveTo>
                <a:lnTo>
                  <a:pt x="537514" y="270713"/>
                </a:lnTo>
                <a:lnTo>
                  <a:pt x="537514" y="422135"/>
                </a:lnTo>
                <a:lnTo>
                  <a:pt x="536409" y="432079"/>
                </a:lnTo>
                <a:lnTo>
                  <a:pt x="532866" y="439915"/>
                </a:lnTo>
                <a:lnTo>
                  <a:pt x="526453" y="445058"/>
                </a:lnTo>
                <a:lnTo>
                  <a:pt x="516788" y="446900"/>
                </a:lnTo>
                <a:lnTo>
                  <a:pt x="506945" y="445058"/>
                </a:lnTo>
                <a:lnTo>
                  <a:pt x="500443" y="439915"/>
                </a:lnTo>
                <a:lnTo>
                  <a:pt x="496862" y="432079"/>
                </a:lnTo>
                <a:lnTo>
                  <a:pt x="495769" y="422135"/>
                </a:lnTo>
                <a:lnTo>
                  <a:pt x="495769" y="270713"/>
                </a:lnTo>
                <a:lnTo>
                  <a:pt x="470446" y="270713"/>
                </a:lnTo>
                <a:lnTo>
                  <a:pt x="470446" y="419849"/>
                </a:lnTo>
                <a:lnTo>
                  <a:pt x="473024" y="439508"/>
                </a:lnTo>
                <a:lnTo>
                  <a:pt x="481190" y="454685"/>
                </a:lnTo>
                <a:lnTo>
                  <a:pt x="495579" y="464464"/>
                </a:lnTo>
                <a:lnTo>
                  <a:pt x="516788" y="467931"/>
                </a:lnTo>
                <a:lnTo>
                  <a:pt x="537184" y="464464"/>
                </a:lnTo>
                <a:lnTo>
                  <a:pt x="550938" y="454685"/>
                </a:lnTo>
                <a:lnTo>
                  <a:pt x="558685" y="439508"/>
                </a:lnTo>
                <a:lnTo>
                  <a:pt x="561124" y="419849"/>
                </a:lnTo>
                <a:lnTo>
                  <a:pt x="561124" y="270713"/>
                </a:lnTo>
                <a:close/>
              </a:path>
              <a:path w="1039495" h="467995">
                <a:moveTo>
                  <a:pt x="595668" y="50673"/>
                </a:moveTo>
                <a:lnTo>
                  <a:pt x="592937" y="30607"/>
                </a:lnTo>
                <a:lnTo>
                  <a:pt x="587857" y="21018"/>
                </a:lnTo>
                <a:lnTo>
                  <a:pt x="584441" y="14541"/>
                </a:lnTo>
                <a:lnTo>
                  <a:pt x="570331" y="4356"/>
                </a:lnTo>
                <a:lnTo>
                  <a:pt x="570331" y="46926"/>
                </a:lnTo>
                <a:lnTo>
                  <a:pt x="570331" y="152298"/>
                </a:lnTo>
                <a:lnTo>
                  <a:pt x="569048" y="162534"/>
                </a:lnTo>
                <a:lnTo>
                  <a:pt x="565073" y="170751"/>
                </a:lnTo>
                <a:lnTo>
                  <a:pt x="558190" y="176225"/>
                </a:lnTo>
                <a:lnTo>
                  <a:pt x="548170" y="178206"/>
                </a:lnTo>
                <a:lnTo>
                  <a:pt x="538314" y="176225"/>
                </a:lnTo>
                <a:lnTo>
                  <a:pt x="531507" y="170751"/>
                </a:lnTo>
                <a:lnTo>
                  <a:pt x="527558" y="162534"/>
                </a:lnTo>
                <a:lnTo>
                  <a:pt x="526288" y="152298"/>
                </a:lnTo>
                <a:lnTo>
                  <a:pt x="526288" y="46926"/>
                </a:lnTo>
                <a:lnTo>
                  <a:pt x="527558" y="36677"/>
                </a:lnTo>
                <a:lnTo>
                  <a:pt x="531507" y="28460"/>
                </a:lnTo>
                <a:lnTo>
                  <a:pt x="538314" y="22999"/>
                </a:lnTo>
                <a:lnTo>
                  <a:pt x="548170" y="21018"/>
                </a:lnTo>
                <a:lnTo>
                  <a:pt x="558190" y="22999"/>
                </a:lnTo>
                <a:lnTo>
                  <a:pt x="565073" y="28460"/>
                </a:lnTo>
                <a:lnTo>
                  <a:pt x="569048" y="36677"/>
                </a:lnTo>
                <a:lnTo>
                  <a:pt x="570331" y="46926"/>
                </a:lnTo>
                <a:lnTo>
                  <a:pt x="570331" y="4356"/>
                </a:lnTo>
                <a:lnTo>
                  <a:pt x="569671" y="3873"/>
                </a:lnTo>
                <a:lnTo>
                  <a:pt x="548170" y="12"/>
                </a:lnTo>
                <a:lnTo>
                  <a:pt x="526948" y="3873"/>
                </a:lnTo>
                <a:lnTo>
                  <a:pt x="512254" y="14541"/>
                </a:lnTo>
                <a:lnTo>
                  <a:pt x="503707" y="30607"/>
                </a:lnTo>
                <a:lnTo>
                  <a:pt x="500951" y="50673"/>
                </a:lnTo>
                <a:lnTo>
                  <a:pt x="500951" y="148551"/>
                </a:lnTo>
                <a:lnTo>
                  <a:pt x="503707" y="168490"/>
                </a:lnTo>
                <a:lnTo>
                  <a:pt x="512254" y="184581"/>
                </a:lnTo>
                <a:lnTo>
                  <a:pt x="526948" y="195326"/>
                </a:lnTo>
                <a:lnTo>
                  <a:pt x="548170" y="199237"/>
                </a:lnTo>
                <a:lnTo>
                  <a:pt x="569671" y="195326"/>
                </a:lnTo>
                <a:lnTo>
                  <a:pt x="584441" y="184581"/>
                </a:lnTo>
                <a:lnTo>
                  <a:pt x="587806" y="178206"/>
                </a:lnTo>
                <a:lnTo>
                  <a:pt x="592937" y="168490"/>
                </a:lnTo>
                <a:lnTo>
                  <a:pt x="595668" y="148551"/>
                </a:lnTo>
                <a:lnTo>
                  <a:pt x="595668" y="50673"/>
                </a:lnTo>
                <a:close/>
              </a:path>
              <a:path w="1039495" h="467995">
                <a:moveTo>
                  <a:pt x="670509" y="465899"/>
                </a:moveTo>
                <a:lnTo>
                  <a:pt x="625030" y="361111"/>
                </a:lnTo>
                <a:lnTo>
                  <a:pt x="669937" y="270713"/>
                </a:lnTo>
                <a:lnTo>
                  <a:pt x="644613" y="270713"/>
                </a:lnTo>
                <a:lnTo>
                  <a:pt x="601713" y="359384"/>
                </a:lnTo>
                <a:lnTo>
                  <a:pt x="601713" y="270713"/>
                </a:lnTo>
                <a:lnTo>
                  <a:pt x="576376" y="270713"/>
                </a:lnTo>
                <a:lnTo>
                  <a:pt x="576376" y="465899"/>
                </a:lnTo>
                <a:lnTo>
                  <a:pt x="601713" y="465899"/>
                </a:lnTo>
                <a:lnTo>
                  <a:pt x="601713" y="369468"/>
                </a:lnTo>
                <a:lnTo>
                  <a:pt x="644029" y="465899"/>
                </a:lnTo>
                <a:lnTo>
                  <a:pt x="670509" y="465899"/>
                </a:lnTo>
                <a:close/>
              </a:path>
              <a:path w="1039495" h="467995">
                <a:moveTo>
                  <a:pt x="701027" y="46913"/>
                </a:moveTo>
                <a:lnTo>
                  <a:pt x="699046" y="27813"/>
                </a:lnTo>
                <a:lnTo>
                  <a:pt x="692099" y="12992"/>
                </a:lnTo>
                <a:lnTo>
                  <a:pt x="678675" y="3416"/>
                </a:lnTo>
                <a:lnTo>
                  <a:pt x="657275" y="0"/>
                </a:lnTo>
                <a:lnTo>
                  <a:pt x="636016" y="3873"/>
                </a:lnTo>
                <a:lnTo>
                  <a:pt x="621538" y="14541"/>
                </a:lnTo>
                <a:lnTo>
                  <a:pt x="613270" y="30607"/>
                </a:lnTo>
                <a:lnTo>
                  <a:pt x="610641" y="50660"/>
                </a:lnTo>
                <a:lnTo>
                  <a:pt x="610641" y="148539"/>
                </a:lnTo>
                <a:lnTo>
                  <a:pt x="613270" y="168490"/>
                </a:lnTo>
                <a:lnTo>
                  <a:pt x="621538" y="184581"/>
                </a:lnTo>
                <a:lnTo>
                  <a:pt x="636016" y="195326"/>
                </a:lnTo>
                <a:lnTo>
                  <a:pt x="657275" y="199224"/>
                </a:lnTo>
                <a:lnTo>
                  <a:pt x="678192" y="195656"/>
                </a:lnTo>
                <a:lnTo>
                  <a:pt x="691667" y="185801"/>
                </a:lnTo>
                <a:lnTo>
                  <a:pt x="698881" y="170916"/>
                </a:lnTo>
                <a:lnTo>
                  <a:pt x="701027" y="152285"/>
                </a:lnTo>
                <a:lnTo>
                  <a:pt x="701027" y="118884"/>
                </a:lnTo>
                <a:lnTo>
                  <a:pt x="677710" y="118884"/>
                </a:lnTo>
                <a:lnTo>
                  <a:pt x="677710" y="154012"/>
                </a:lnTo>
                <a:lnTo>
                  <a:pt x="676783" y="163868"/>
                </a:lnTo>
                <a:lnTo>
                  <a:pt x="673569" y="171500"/>
                </a:lnTo>
                <a:lnTo>
                  <a:pt x="667385" y="176441"/>
                </a:lnTo>
                <a:lnTo>
                  <a:pt x="657567" y="178193"/>
                </a:lnTo>
                <a:lnTo>
                  <a:pt x="647636" y="176212"/>
                </a:lnTo>
                <a:lnTo>
                  <a:pt x="640943" y="170751"/>
                </a:lnTo>
                <a:lnTo>
                  <a:pt x="637159" y="162534"/>
                </a:lnTo>
                <a:lnTo>
                  <a:pt x="635977" y="152285"/>
                </a:lnTo>
                <a:lnTo>
                  <a:pt x="635977" y="46913"/>
                </a:lnTo>
                <a:lnTo>
                  <a:pt x="637159" y="36677"/>
                </a:lnTo>
                <a:lnTo>
                  <a:pt x="640943" y="28460"/>
                </a:lnTo>
                <a:lnTo>
                  <a:pt x="647636" y="22999"/>
                </a:lnTo>
                <a:lnTo>
                  <a:pt x="657567" y="21005"/>
                </a:lnTo>
                <a:lnTo>
                  <a:pt x="667346" y="22644"/>
                </a:lnTo>
                <a:lnTo>
                  <a:pt x="673430" y="27381"/>
                </a:lnTo>
                <a:lnTo>
                  <a:pt x="676554" y="34975"/>
                </a:lnTo>
                <a:lnTo>
                  <a:pt x="677430" y="45186"/>
                </a:lnTo>
                <a:lnTo>
                  <a:pt x="677430" y="69951"/>
                </a:lnTo>
                <a:lnTo>
                  <a:pt x="701027" y="69951"/>
                </a:lnTo>
                <a:lnTo>
                  <a:pt x="701027" y="46913"/>
                </a:lnTo>
                <a:close/>
              </a:path>
              <a:path w="1039495" h="467995">
                <a:moveTo>
                  <a:pt x="754595" y="270713"/>
                </a:moveTo>
                <a:lnTo>
                  <a:pt x="679450" y="270713"/>
                </a:lnTo>
                <a:lnTo>
                  <a:pt x="679450" y="465912"/>
                </a:lnTo>
                <a:lnTo>
                  <a:pt x="754595" y="465912"/>
                </a:lnTo>
                <a:lnTo>
                  <a:pt x="754595" y="445173"/>
                </a:lnTo>
                <a:lnTo>
                  <a:pt x="704786" y="445173"/>
                </a:lnTo>
                <a:lnTo>
                  <a:pt x="704786" y="376948"/>
                </a:lnTo>
                <a:lnTo>
                  <a:pt x="740765" y="376948"/>
                </a:lnTo>
                <a:lnTo>
                  <a:pt x="740765" y="356501"/>
                </a:lnTo>
                <a:lnTo>
                  <a:pt x="704786" y="356501"/>
                </a:lnTo>
                <a:lnTo>
                  <a:pt x="704786" y="291439"/>
                </a:lnTo>
                <a:lnTo>
                  <a:pt x="754595" y="291439"/>
                </a:lnTo>
                <a:lnTo>
                  <a:pt x="754595" y="270713"/>
                </a:lnTo>
                <a:close/>
              </a:path>
              <a:path w="1039495" h="467995">
                <a:moveTo>
                  <a:pt x="802665" y="2006"/>
                </a:moveTo>
                <a:lnTo>
                  <a:pt x="778192" y="2006"/>
                </a:lnTo>
                <a:lnTo>
                  <a:pt x="754583" y="86931"/>
                </a:lnTo>
                <a:lnTo>
                  <a:pt x="754291" y="86931"/>
                </a:lnTo>
                <a:lnTo>
                  <a:pt x="730389" y="2006"/>
                </a:lnTo>
                <a:lnTo>
                  <a:pt x="704202" y="2006"/>
                </a:lnTo>
                <a:lnTo>
                  <a:pt x="740765" y="122923"/>
                </a:lnTo>
                <a:lnTo>
                  <a:pt x="740765" y="197205"/>
                </a:lnTo>
                <a:lnTo>
                  <a:pt x="766102" y="197205"/>
                </a:lnTo>
                <a:lnTo>
                  <a:pt x="766102" y="122923"/>
                </a:lnTo>
                <a:lnTo>
                  <a:pt x="802665" y="2006"/>
                </a:lnTo>
                <a:close/>
              </a:path>
              <a:path w="1039495" h="467995">
                <a:moveTo>
                  <a:pt x="883272" y="270713"/>
                </a:moveTo>
                <a:lnTo>
                  <a:pt x="849312" y="270713"/>
                </a:lnTo>
                <a:lnTo>
                  <a:pt x="825411" y="399402"/>
                </a:lnTo>
                <a:lnTo>
                  <a:pt x="825119" y="399402"/>
                </a:lnTo>
                <a:lnTo>
                  <a:pt x="799782" y="270713"/>
                </a:lnTo>
                <a:lnTo>
                  <a:pt x="768692" y="270713"/>
                </a:lnTo>
                <a:lnTo>
                  <a:pt x="768692" y="465912"/>
                </a:lnTo>
                <a:lnTo>
                  <a:pt x="790003" y="465912"/>
                </a:lnTo>
                <a:lnTo>
                  <a:pt x="790003" y="322821"/>
                </a:lnTo>
                <a:lnTo>
                  <a:pt x="790575" y="322821"/>
                </a:lnTo>
                <a:lnTo>
                  <a:pt x="818781" y="465912"/>
                </a:lnTo>
                <a:lnTo>
                  <a:pt x="831456" y="465912"/>
                </a:lnTo>
                <a:lnTo>
                  <a:pt x="858520" y="322821"/>
                </a:lnTo>
                <a:lnTo>
                  <a:pt x="859383" y="322821"/>
                </a:lnTo>
                <a:lnTo>
                  <a:pt x="859383" y="465912"/>
                </a:lnTo>
                <a:lnTo>
                  <a:pt x="883272" y="465912"/>
                </a:lnTo>
                <a:lnTo>
                  <a:pt x="883272" y="270713"/>
                </a:lnTo>
                <a:close/>
              </a:path>
              <a:path w="1039495" h="467995">
                <a:moveTo>
                  <a:pt x="892187" y="2006"/>
                </a:moveTo>
                <a:lnTo>
                  <a:pt x="808139" y="2006"/>
                </a:lnTo>
                <a:lnTo>
                  <a:pt x="808139" y="22326"/>
                </a:lnTo>
                <a:lnTo>
                  <a:pt x="837501" y="22326"/>
                </a:lnTo>
                <a:lnTo>
                  <a:pt x="837501" y="197586"/>
                </a:lnTo>
                <a:lnTo>
                  <a:pt x="863117" y="197586"/>
                </a:lnTo>
                <a:lnTo>
                  <a:pt x="863117" y="22326"/>
                </a:lnTo>
                <a:lnTo>
                  <a:pt x="892187" y="22326"/>
                </a:lnTo>
                <a:lnTo>
                  <a:pt x="892187" y="2006"/>
                </a:lnTo>
                <a:close/>
              </a:path>
              <a:path w="1039495" h="467995">
                <a:moveTo>
                  <a:pt x="923874" y="270713"/>
                </a:moveTo>
                <a:lnTo>
                  <a:pt x="898537" y="270713"/>
                </a:lnTo>
                <a:lnTo>
                  <a:pt x="898537" y="465924"/>
                </a:lnTo>
                <a:lnTo>
                  <a:pt x="923874" y="465924"/>
                </a:lnTo>
                <a:lnTo>
                  <a:pt x="923874" y="270713"/>
                </a:lnTo>
                <a:close/>
              </a:path>
              <a:path w="1039495" h="467995">
                <a:moveTo>
                  <a:pt x="929055" y="2006"/>
                </a:moveTo>
                <a:lnTo>
                  <a:pt x="903719" y="2006"/>
                </a:lnTo>
                <a:lnTo>
                  <a:pt x="903719" y="197205"/>
                </a:lnTo>
                <a:lnTo>
                  <a:pt x="929055" y="197205"/>
                </a:lnTo>
                <a:lnTo>
                  <a:pt x="929055" y="2006"/>
                </a:lnTo>
                <a:close/>
              </a:path>
              <a:path w="1039495" h="467995">
                <a:moveTo>
                  <a:pt x="1034694" y="46913"/>
                </a:moveTo>
                <a:lnTo>
                  <a:pt x="1032713" y="27813"/>
                </a:lnTo>
                <a:lnTo>
                  <a:pt x="1025779" y="12992"/>
                </a:lnTo>
                <a:lnTo>
                  <a:pt x="1012355" y="3416"/>
                </a:lnTo>
                <a:lnTo>
                  <a:pt x="990942" y="0"/>
                </a:lnTo>
                <a:lnTo>
                  <a:pt x="969695" y="3873"/>
                </a:lnTo>
                <a:lnTo>
                  <a:pt x="955205" y="14541"/>
                </a:lnTo>
                <a:lnTo>
                  <a:pt x="946937" y="30607"/>
                </a:lnTo>
                <a:lnTo>
                  <a:pt x="944308" y="50660"/>
                </a:lnTo>
                <a:lnTo>
                  <a:pt x="944308" y="148539"/>
                </a:lnTo>
                <a:lnTo>
                  <a:pt x="946937" y="168490"/>
                </a:lnTo>
                <a:lnTo>
                  <a:pt x="955205" y="184581"/>
                </a:lnTo>
                <a:lnTo>
                  <a:pt x="969695" y="195326"/>
                </a:lnTo>
                <a:lnTo>
                  <a:pt x="990942" y="199224"/>
                </a:lnTo>
                <a:lnTo>
                  <a:pt x="1011859" y="195656"/>
                </a:lnTo>
                <a:lnTo>
                  <a:pt x="1025334" y="185801"/>
                </a:lnTo>
                <a:lnTo>
                  <a:pt x="1032560" y="170916"/>
                </a:lnTo>
                <a:lnTo>
                  <a:pt x="1034694" y="152285"/>
                </a:lnTo>
                <a:lnTo>
                  <a:pt x="1034694" y="118884"/>
                </a:lnTo>
                <a:lnTo>
                  <a:pt x="1011377" y="118884"/>
                </a:lnTo>
                <a:lnTo>
                  <a:pt x="1011377" y="154012"/>
                </a:lnTo>
                <a:lnTo>
                  <a:pt x="1010462" y="163868"/>
                </a:lnTo>
                <a:lnTo>
                  <a:pt x="1007237" y="171500"/>
                </a:lnTo>
                <a:lnTo>
                  <a:pt x="1001064" y="176441"/>
                </a:lnTo>
                <a:lnTo>
                  <a:pt x="991235" y="178193"/>
                </a:lnTo>
                <a:lnTo>
                  <a:pt x="981303" y="176212"/>
                </a:lnTo>
                <a:lnTo>
                  <a:pt x="974610" y="170751"/>
                </a:lnTo>
                <a:lnTo>
                  <a:pt x="970838" y="162534"/>
                </a:lnTo>
                <a:lnTo>
                  <a:pt x="969645" y="152285"/>
                </a:lnTo>
                <a:lnTo>
                  <a:pt x="969645" y="46913"/>
                </a:lnTo>
                <a:lnTo>
                  <a:pt x="970838" y="36677"/>
                </a:lnTo>
                <a:lnTo>
                  <a:pt x="974610" y="28460"/>
                </a:lnTo>
                <a:lnTo>
                  <a:pt x="981303" y="22999"/>
                </a:lnTo>
                <a:lnTo>
                  <a:pt x="991235" y="21005"/>
                </a:lnTo>
                <a:lnTo>
                  <a:pt x="1001014" y="22644"/>
                </a:lnTo>
                <a:lnTo>
                  <a:pt x="1007097" y="27381"/>
                </a:lnTo>
                <a:lnTo>
                  <a:pt x="1010221" y="34975"/>
                </a:lnTo>
                <a:lnTo>
                  <a:pt x="1011097" y="45186"/>
                </a:lnTo>
                <a:lnTo>
                  <a:pt x="1011097" y="69951"/>
                </a:lnTo>
                <a:lnTo>
                  <a:pt x="1034694" y="69951"/>
                </a:lnTo>
                <a:lnTo>
                  <a:pt x="1034694" y="46913"/>
                </a:lnTo>
                <a:close/>
              </a:path>
              <a:path w="1039495" h="467995">
                <a:moveTo>
                  <a:pt x="1039317" y="465912"/>
                </a:moveTo>
                <a:lnTo>
                  <a:pt x="1031354" y="425030"/>
                </a:lnTo>
                <a:lnTo>
                  <a:pt x="1027315" y="404304"/>
                </a:lnTo>
                <a:lnTo>
                  <a:pt x="1009434" y="312458"/>
                </a:lnTo>
                <a:lnTo>
                  <a:pt x="1002169" y="275170"/>
                </a:lnTo>
                <a:lnTo>
                  <a:pt x="1002169" y="404304"/>
                </a:lnTo>
                <a:lnTo>
                  <a:pt x="969060" y="404304"/>
                </a:lnTo>
                <a:lnTo>
                  <a:pt x="985469" y="312458"/>
                </a:lnTo>
                <a:lnTo>
                  <a:pt x="985761" y="312458"/>
                </a:lnTo>
                <a:lnTo>
                  <a:pt x="1002169" y="404304"/>
                </a:lnTo>
                <a:lnTo>
                  <a:pt x="1002169" y="275170"/>
                </a:lnTo>
                <a:lnTo>
                  <a:pt x="1001306" y="270725"/>
                </a:lnTo>
                <a:lnTo>
                  <a:pt x="971651" y="270725"/>
                </a:lnTo>
                <a:lnTo>
                  <a:pt x="933945" y="465912"/>
                </a:lnTo>
                <a:lnTo>
                  <a:pt x="958126" y="465912"/>
                </a:lnTo>
                <a:lnTo>
                  <a:pt x="965327" y="425030"/>
                </a:lnTo>
                <a:lnTo>
                  <a:pt x="1005916" y="425030"/>
                </a:lnTo>
                <a:lnTo>
                  <a:pt x="1013396" y="465912"/>
                </a:lnTo>
                <a:lnTo>
                  <a:pt x="1039317" y="465912"/>
                </a:lnTo>
                <a:close/>
              </a:path>
            </a:pathLst>
          </a:custGeom>
          <a:solidFill>
            <a:srgbClr val="FFC20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bg object 38"/>
          <p:cNvSpPr/>
          <p:nvPr/>
        </p:nvSpPr>
        <p:spPr>
          <a:xfrm>
            <a:off x="1291234" y="2209253"/>
            <a:ext cx="2009139" cy="1424940"/>
          </a:xfrm>
          <a:custGeom>
            <a:avLst/>
            <a:gdLst/>
            <a:ahLst/>
            <a:cxnLst/>
            <a:rect l="l" t="t" r="r" b="b"/>
            <a:pathLst>
              <a:path w="2009139" h="1424939">
                <a:moveTo>
                  <a:pt x="813206" y="1424673"/>
                </a:moveTo>
                <a:lnTo>
                  <a:pt x="763638" y="1164132"/>
                </a:lnTo>
                <a:lnTo>
                  <a:pt x="727252" y="972896"/>
                </a:lnTo>
                <a:lnTo>
                  <a:pt x="618502" y="401345"/>
                </a:lnTo>
                <a:lnTo>
                  <a:pt x="542150" y="12"/>
                </a:lnTo>
                <a:lnTo>
                  <a:pt x="491705" y="12"/>
                </a:lnTo>
                <a:lnTo>
                  <a:pt x="491705" y="972896"/>
                </a:lnTo>
                <a:lnTo>
                  <a:pt x="300494" y="972896"/>
                </a:lnTo>
                <a:lnTo>
                  <a:pt x="395058" y="401345"/>
                </a:lnTo>
                <a:lnTo>
                  <a:pt x="397167" y="401345"/>
                </a:lnTo>
                <a:lnTo>
                  <a:pt x="491705" y="972896"/>
                </a:lnTo>
                <a:lnTo>
                  <a:pt x="491705" y="12"/>
                </a:lnTo>
                <a:lnTo>
                  <a:pt x="268973" y="12"/>
                </a:lnTo>
                <a:lnTo>
                  <a:pt x="0" y="1424673"/>
                </a:lnTo>
                <a:lnTo>
                  <a:pt x="226961" y="1424673"/>
                </a:lnTo>
                <a:lnTo>
                  <a:pt x="268973" y="1164132"/>
                </a:lnTo>
                <a:lnTo>
                  <a:pt x="523240" y="1164132"/>
                </a:lnTo>
                <a:lnTo>
                  <a:pt x="567347" y="1424673"/>
                </a:lnTo>
                <a:lnTo>
                  <a:pt x="813206" y="1424673"/>
                </a:lnTo>
                <a:close/>
              </a:path>
              <a:path w="2009139" h="1424939">
                <a:moveTo>
                  <a:pt x="1405737" y="1229360"/>
                </a:moveTo>
                <a:lnTo>
                  <a:pt x="1119962" y="1229360"/>
                </a:lnTo>
                <a:lnTo>
                  <a:pt x="1119962" y="0"/>
                </a:lnTo>
                <a:lnTo>
                  <a:pt x="880414" y="0"/>
                </a:lnTo>
                <a:lnTo>
                  <a:pt x="880414" y="1229360"/>
                </a:lnTo>
                <a:lnTo>
                  <a:pt x="880414" y="1424940"/>
                </a:lnTo>
                <a:lnTo>
                  <a:pt x="1405737" y="1424940"/>
                </a:lnTo>
                <a:lnTo>
                  <a:pt x="1405737" y="1229360"/>
                </a:lnTo>
                <a:close/>
              </a:path>
              <a:path w="2009139" h="1424939">
                <a:moveTo>
                  <a:pt x="2008784" y="1229360"/>
                </a:moveTo>
                <a:lnTo>
                  <a:pt x="1723009" y="1229360"/>
                </a:lnTo>
                <a:lnTo>
                  <a:pt x="1723009" y="0"/>
                </a:lnTo>
                <a:lnTo>
                  <a:pt x="1483461" y="0"/>
                </a:lnTo>
                <a:lnTo>
                  <a:pt x="1483461" y="1229360"/>
                </a:lnTo>
                <a:lnTo>
                  <a:pt x="1483461" y="1424940"/>
                </a:lnTo>
                <a:lnTo>
                  <a:pt x="2008784" y="1424940"/>
                </a:lnTo>
                <a:lnTo>
                  <a:pt x="2008784" y="1229360"/>
                </a:lnTo>
                <a:close/>
              </a:path>
            </a:pathLst>
          </a:custGeom>
          <a:solidFill>
            <a:srgbClr val="F7F6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600" b="0" i="0">
                <a:solidFill>
                  <a:srgbClr val="58595B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024-05-16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456746" y="455869"/>
            <a:ext cx="924011" cy="238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28881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Outline2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920762EF-0474-9358-6ED8-3916562844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422"/>
          <a:stretch/>
        </p:blipFill>
        <p:spPr>
          <a:xfrm>
            <a:off x="0" y="752078"/>
            <a:ext cx="11474606" cy="373437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9576" y="2313432"/>
            <a:ext cx="7369175" cy="13231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3900" b="0" spc="0" baseline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8E21E1CC-5F5E-4E4C-063D-BBC7DE81B4C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7131325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with Image2_Blue">
    <p:bg>
      <p:bgPr>
        <a:gradFill>
          <a:gsLst>
            <a:gs pos="0">
              <a:schemeClr val="accent2"/>
            </a:gs>
            <a:gs pos="93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8C084657-8268-012C-F255-B0679B85348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-1"/>
            <a:ext cx="12204191" cy="5689601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53AC232-D482-5259-1392-EE2E55B47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9576" y="3059084"/>
            <a:ext cx="10645775" cy="577458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3900" b="0" spc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51B8E7A-1241-D7A4-262C-4A45158321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3013809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with Image2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0D22D8B5-A53E-9F27-F895-D6005176604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-1"/>
            <a:ext cx="12204191" cy="5689601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9576" y="3059084"/>
            <a:ext cx="10645775" cy="577458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3900" b="0" spc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1BFBDD2-1AF9-91B5-BF36-65D95A417B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474441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_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DE2DDFB-68D7-644D-9E37-D72139CD6D3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226682" y="1574800"/>
            <a:ext cx="4977510" cy="3292474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2915222-8AED-AE4D-E3B9-8E105C90D5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9477" y="1574800"/>
            <a:ext cx="6599547" cy="41148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7A3438A0-3AFA-9012-C63A-4731533CE8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14490" y="4867275"/>
            <a:ext cx="4977510" cy="822324"/>
          </a:xfrm>
          <a:gradFill>
            <a:gsLst>
              <a:gs pos="0">
                <a:schemeClr val="accent2"/>
              </a:gs>
              <a:gs pos="31500">
                <a:srgbClr val="0090D4"/>
              </a:gs>
              <a:gs pos="63000">
                <a:schemeClr val="accent1"/>
              </a:gs>
            </a:gsLst>
            <a:lin ang="720000" scaled="0"/>
          </a:gradFill>
        </p:spPr>
        <p:txBody>
          <a:bodyPr anchor="ctr"/>
          <a:lstStyle>
            <a:lvl1pPr marL="0" indent="0" algn="ctr">
              <a:buNone/>
              <a:defRPr sz="180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Photo Title</a:t>
            </a:r>
          </a:p>
        </p:txBody>
      </p:sp>
      <p:sp>
        <p:nvSpPr>
          <p:cNvPr id="5" name="Title Placeholder 6">
            <a:extLst>
              <a:ext uri="{FF2B5EF4-FFF2-40B4-BE49-F238E27FC236}">
                <a16:creationId xmlns:a16="http://schemas.microsoft.com/office/drawing/2014/main" id="{C71F3598-B4FC-9300-B36C-0BB31AE92F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74362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54DE4C5-7EF1-4E65-C3FD-C75C8FB944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85207" y="1574801"/>
            <a:ext cx="6244844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icture Placeholder 7">
            <a:extLst>
              <a:ext uri="{FF2B5EF4-FFF2-40B4-BE49-F238E27FC236}">
                <a16:creationId xmlns:a16="http://schemas.microsoft.com/office/drawing/2014/main" id="{D6A78CD8-646B-CF20-7BEF-9F4FA845C6D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574800"/>
            <a:ext cx="5374893" cy="3292475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D568CC3C-35DE-EF4B-4C3A-0CE5E6F5D42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1" y="4867275"/>
            <a:ext cx="5374893" cy="822324"/>
          </a:xfrm>
          <a:gradFill>
            <a:gsLst>
              <a:gs pos="0">
                <a:schemeClr val="accent2"/>
              </a:gs>
              <a:gs pos="31500">
                <a:srgbClr val="0090D4"/>
              </a:gs>
              <a:gs pos="63000">
                <a:schemeClr val="accent1"/>
              </a:gs>
            </a:gsLst>
            <a:lin ang="720000" scaled="0"/>
          </a:gradFill>
        </p:spPr>
        <p:txBody>
          <a:bodyPr anchor="ctr"/>
          <a:lstStyle>
            <a:lvl1pPr marL="0" indent="0" algn="ctr">
              <a:buNone/>
              <a:defRPr sz="180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Photo Title</a:t>
            </a:r>
          </a:p>
        </p:txBody>
      </p:sp>
      <p:sp>
        <p:nvSpPr>
          <p:cNvPr id="6" name="Title Placeholder 6">
            <a:extLst>
              <a:ext uri="{FF2B5EF4-FFF2-40B4-BE49-F238E27FC236}">
                <a16:creationId xmlns:a16="http://schemas.microsoft.com/office/drawing/2014/main" id="{3FF7C4F6-8FCE-FFCA-32B4-E7FE1F7DF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2649992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akeaway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F4BA461A-240D-E877-408F-9DE26CE11C8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1000" y="1574800"/>
            <a:ext cx="6503894" cy="41148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1267CAD-E012-4AA7-A3C8-4883534ED3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60080" y="1574800"/>
            <a:ext cx="3550920" cy="4114800"/>
          </a:xfrm>
          <a:noFill/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spcAft>
                <a:spcPts val="600"/>
              </a:spcAft>
              <a:buNone/>
              <a:defRPr b="1" i="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274320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548640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917391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1218956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CLICK TO ADD TAKEAWAY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31FB8A24-E91E-9030-3097-499DEA6FC1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76003381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akeaway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54DE4C5-7EF1-4E65-C3FD-C75C8FB944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85207" y="1574801"/>
            <a:ext cx="6244844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506DD96-9DEF-0024-7691-0ACAC39EC0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1949" y="1574802"/>
            <a:ext cx="5033915" cy="4114799"/>
          </a:xfrm>
          <a:noFill/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spcAft>
                <a:spcPts val="600"/>
              </a:spcAft>
              <a:buNone/>
              <a:defRPr b="1" i="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274320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548640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917391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1218956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CLICK TO ADD TAKEAWAY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6F1E5442-21A0-77E1-5BB7-F319D1BBAB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2544627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akeaway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507CE2A-A32A-FDFB-C3C9-ACCB1A8FC8F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574800"/>
            <a:ext cx="7226681" cy="4114801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9AAACF3E-83ED-52C4-27A7-1B90EAC241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60080" y="1574800"/>
            <a:ext cx="3550920" cy="4114800"/>
          </a:xfrm>
          <a:noFill/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spcAft>
                <a:spcPts val="600"/>
              </a:spcAft>
              <a:buNone/>
              <a:defRPr b="1" i="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274320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548640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917391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1218956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CLICK TO ADD TAKEAWAY</a:t>
            </a:r>
          </a:p>
        </p:txBody>
      </p:sp>
      <p:sp>
        <p:nvSpPr>
          <p:cNvPr id="4" name="Title Placeholder 6">
            <a:extLst>
              <a:ext uri="{FF2B5EF4-FFF2-40B4-BE49-F238E27FC236}">
                <a16:creationId xmlns:a16="http://schemas.microsoft.com/office/drawing/2014/main" id="{26FF2F96-AD0E-EB85-4484-AE99D085D3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0544953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akeaway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4405DBE-1BE7-E695-C62E-22EB44D99C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376672" y="1574799"/>
            <a:ext cx="6815328" cy="4114801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66B01E68-D740-637A-BD9F-BD42CE8E9D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7285" y="1574802"/>
            <a:ext cx="4783997" cy="4114799"/>
          </a:xfrm>
          <a:noFill/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spcAft>
                <a:spcPts val="600"/>
              </a:spcAft>
              <a:buNone/>
              <a:defRPr b="1" i="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274320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548640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917391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1218956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CLICK TO ADD TAKEAWAY</a:t>
            </a:r>
          </a:p>
        </p:txBody>
      </p:sp>
      <p:sp>
        <p:nvSpPr>
          <p:cNvPr id="6" name="Title Placeholder 6">
            <a:extLst>
              <a:ext uri="{FF2B5EF4-FFF2-40B4-BE49-F238E27FC236}">
                <a16:creationId xmlns:a16="http://schemas.microsoft.com/office/drawing/2014/main" id="{CF2F8706-9F53-3F92-74D0-FFE34BCF91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20596740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akeaway_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F4BA461A-240D-E877-408F-9DE26CE11C8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67285" y="1574800"/>
            <a:ext cx="11459589" cy="28829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Placeholder 6">
            <a:extLst>
              <a:ext uri="{FF2B5EF4-FFF2-40B4-BE49-F238E27FC236}">
                <a16:creationId xmlns:a16="http://schemas.microsoft.com/office/drawing/2014/main" id="{D3CD59DC-5DE1-B69A-80AE-C320922E6A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EF886CAD-5351-7713-14D9-6775796BA8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7286" y="4867275"/>
            <a:ext cx="11459588" cy="822325"/>
          </a:xfrm>
          <a:noFill/>
        </p:spPr>
        <p:txBody>
          <a:bodyPr anchor="ctr"/>
          <a:lstStyle>
            <a:lvl1pPr marL="0" indent="0" algn="l">
              <a:buNone/>
              <a:defRPr b="1" i="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274320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548640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917391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1218956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CLICK TO ADD TAKEAWAY</a:t>
            </a:r>
          </a:p>
        </p:txBody>
      </p:sp>
    </p:spTree>
    <p:extLst>
      <p:ext uri="{BB962C8B-B14F-4D97-AF65-F5344CB8AC3E}">
        <p14:creationId xmlns:p14="http://schemas.microsoft.com/office/powerpoint/2010/main" val="1903062984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17" name="bg object 17"/>
          <p:cNvSpPr/>
          <p:nvPr/>
        </p:nvSpPr>
        <p:spPr>
          <a:xfrm>
            <a:off x="457200" y="948753"/>
            <a:ext cx="1828800" cy="114300"/>
          </a:xfrm>
          <a:custGeom>
            <a:avLst/>
            <a:gdLst/>
            <a:ahLst/>
            <a:cxnLst/>
            <a:rect l="l" t="t" r="r" b="b"/>
            <a:pathLst>
              <a:path w="1828800" h="114300">
                <a:moveTo>
                  <a:pt x="1828800" y="0"/>
                </a:moveTo>
                <a:lnTo>
                  <a:pt x="0" y="0"/>
                </a:lnTo>
                <a:lnTo>
                  <a:pt x="0" y="114300"/>
                </a:lnTo>
                <a:lnTo>
                  <a:pt x="1828800" y="114300"/>
                </a:lnTo>
                <a:lnTo>
                  <a:pt x="1828800" y="0"/>
                </a:lnTo>
                <a:close/>
              </a:path>
            </a:pathLst>
          </a:custGeom>
          <a:solidFill>
            <a:srgbClr val="FFC20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g object 18"/>
          <p:cNvSpPr/>
          <p:nvPr/>
        </p:nvSpPr>
        <p:spPr>
          <a:xfrm>
            <a:off x="3153895" y="1968256"/>
            <a:ext cx="1234440" cy="893444"/>
          </a:xfrm>
          <a:custGeom>
            <a:avLst/>
            <a:gdLst/>
            <a:ahLst/>
            <a:cxnLst/>
            <a:rect l="l" t="t" r="r" b="b"/>
            <a:pathLst>
              <a:path w="1234439" h="893444">
                <a:moveTo>
                  <a:pt x="446468" y="0"/>
                </a:moveTo>
                <a:lnTo>
                  <a:pt x="397819" y="2619"/>
                </a:lnTo>
                <a:lnTo>
                  <a:pt x="350688" y="10297"/>
                </a:lnTo>
                <a:lnTo>
                  <a:pt x="305347" y="22760"/>
                </a:lnTo>
                <a:lnTo>
                  <a:pt x="262069" y="39737"/>
                </a:lnTo>
                <a:lnTo>
                  <a:pt x="221124" y="60954"/>
                </a:lnTo>
                <a:lnTo>
                  <a:pt x="182787" y="86140"/>
                </a:lnTo>
                <a:lnTo>
                  <a:pt x="147329" y="115023"/>
                </a:lnTo>
                <a:lnTo>
                  <a:pt x="115023" y="147329"/>
                </a:lnTo>
                <a:lnTo>
                  <a:pt x="86140" y="182787"/>
                </a:lnTo>
                <a:lnTo>
                  <a:pt x="60954" y="221124"/>
                </a:lnTo>
                <a:lnTo>
                  <a:pt x="39737" y="262069"/>
                </a:lnTo>
                <a:lnTo>
                  <a:pt x="22760" y="305347"/>
                </a:lnTo>
                <a:lnTo>
                  <a:pt x="10297" y="350688"/>
                </a:lnTo>
                <a:lnTo>
                  <a:pt x="2619" y="397819"/>
                </a:lnTo>
                <a:lnTo>
                  <a:pt x="0" y="446468"/>
                </a:lnTo>
                <a:lnTo>
                  <a:pt x="2619" y="495114"/>
                </a:lnTo>
                <a:lnTo>
                  <a:pt x="10297" y="542244"/>
                </a:lnTo>
                <a:lnTo>
                  <a:pt x="22760" y="587584"/>
                </a:lnTo>
                <a:lnTo>
                  <a:pt x="39737" y="630862"/>
                </a:lnTo>
                <a:lnTo>
                  <a:pt x="60954" y="671806"/>
                </a:lnTo>
                <a:lnTo>
                  <a:pt x="86140" y="710143"/>
                </a:lnTo>
                <a:lnTo>
                  <a:pt x="115023" y="745602"/>
                </a:lnTo>
                <a:lnTo>
                  <a:pt x="147329" y="777909"/>
                </a:lnTo>
                <a:lnTo>
                  <a:pt x="182787" y="806792"/>
                </a:lnTo>
                <a:lnTo>
                  <a:pt x="221124" y="831979"/>
                </a:lnTo>
                <a:lnTo>
                  <a:pt x="262069" y="853197"/>
                </a:lnTo>
                <a:lnTo>
                  <a:pt x="305347" y="870175"/>
                </a:lnTo>
                <a:lnTo>
                  <a:pt x="350688" y="882638"/>
                </a:lnTo>
                <a:lnTo>
                  <a:pt x="397819" y="890317"/>
                </a:lnTo>
                <a:lnTo>
                  <a:pt x="446468" y="892936"/>
                </a:lnTo>
                <a:lnTo>
                  <a:pt x="496159" y="890201"/>
                </a:lnTo>
                <a:lnTo>
                  <a:pt x="544257" y="882189"/>
                </a:lnTo>
                <a:lnTo>
                  <a:pt x="590470" y="869191"/>
                </a:lnTo>
                <a:lnTo>
                  <a:pt x="634510" y="851499"/>
                </a:lnTo>
                <a:lnTo>
                  <a:pt x="676086" y="829402"/>
                </a:lnTo>
                <a:lnTo>
                  <a:pt x="714908" y="803193"/>
                </a:lnTo>
                <a:lnTo>
                  <a:pt x="750687" y="773161"/>
                </a:lnTo>
                <a:lnTo>
                  <a:pt x="783131" y="739597"/>
                </a:lnTo>
                <a:lnTo>
                  <a:pt x="811953" y="702794"/>
                </a:lnTo>
                <a:lnTo>
                  <a:pt x="836860" y="663040"/>
                </a:lnTo>
                <a:lnTo>
                  <a:pt x="857564" y="620629"/>
                </a:lnTo>
                <a:lnTo>
                  <a:pt x="873775" y="575849"/>
                </a:lnTo>
                <a:lnTo>
                  <a:pt x="885202" y="528993"/>
                </a:lnTo>
                <a:lnTo>
                  <a:pt x="900608" y="508889"/>
                </a:lnTo>
                <a:lnTo>
                  <a:pt x="924879" y="493512"/>
                </a:lnTo>
                <a:lnTo>
                  <a:pt x="960007" y="487650"/>
                </a:lnTo>
                <a:lnTo>
                  <a:pt x="1224732" y="487650"/>
                </a:lnTo>
                <a:lnTo>
                  <a:pt x="1226284" y="485349"/>
                </a:lnTo>
                <a:lnTo>
                  <a:pt x="1234135" y="446468"/>
                </a:lnTo>
                <a:lnTo>
                  <a:pt x="1226284" y="407585"/>
                </a:lnTo>
                <a:lnTo>
                  <a:pt x="1224728" y="405277"/>
                </a:lnTo>
                <a:lnTo>
                  <a:pt x="960007" y="405277"/>
                </a:lnTo>
                <a:lnTo>
                  <a:pt x="924879" y="399417"/>
                </a:lnTo>
                <a:lnTo>
                  <a:pt x="900608" y="384039"/>
                </a:lnTo>
                <a:lnTo>
                  <a:pt x="885202" y="363931"/>
                </a:lnTo>
                <a:lnTo>
                  <a:pt x="873775" y="317074"/>
                </a:lnTo>
                <a:lnTo>
                  <a:pt x="857564" y="272295"/>
                </a:lnTo>
                <a:lnTo>
                  <a:pt x="836860" y="229885"/>
                </a:lnTo>
                <a:lnTo>
                  <a:pt x="811953" y="190132"/>
                </a:lnTo>
                <a:lnTo>
                  <a:pt x="783131" y="153330"/>
                </a:lnTo>
                <a:lnTo>
                  <a:pt x="750687" y="119768"/>
                </a:lnTo>
                <a:lnTo>
                  <a:pt x="714908" y="89738"/>
                </a:lnTo>
                <a:lnTo>
                  <a:pt x="676086" y="63530"/>
                </a:lnTo>
                <a:lnTo>
                  <a:pt x="634510" y="41434"/>
                </a:lnTo>
                <a:lnTo>
                  <a:pt x="590470" y="23743"/>
                </a:lnTo>
                <a:lnTo>
                  <a:pt x="544257" y="10746"/>
                </a:lnTo>
                <a:lnTo>
                  <a:pt x="496159" y="2735"/>
                </a:lnTo>
                <a:lnTo>
                  <a:pt x="446468" y="0"/>
                </a:lnTo>
                <a:close/>
              </a:path>
              <a:path w="1234439" h="893444">
                <a:moveTo>
                  <a:pt x="1224732" y="487650"/>
                </a:moveTo>
                <a:lnTo>
                  <a:pt x="960007" y="487650"/>
                </a:lnTo>
                <a:lnTo>
                  <a:pt x="1007979" y="496090"/>
                </a:lnTo>
                <a:lnTo>
                  <a:pt x="1070787" y="523620"/>
                </a:lnTo>
                <a:lnTo>
                  <a:pt x="1084595" y="533163"/>
                </a:lnTo>
                <a:lnTo>
                  <a:pt x="1099950" y="540311"/>
                </a:lnTo>
                <a:lnTo>
                  <a:pt x="1116586" y="544798"/>
                </a:lnTo>
                <a:lnTo>
                  <a:pt x="1134237" y="546353"/>
                </a:lnTo>
                <a:lnTo>
                  <a:pt x="1173120" y="538505"/>
                </a:lnTo>
                <a:lnTo>
                  <a:pt x="1204874" y="517099"/>
                </a:lnTo>
                <a:lnTo>
                  <a:pt x="1224732" y="487650"/>
                </a:lnTo>
                <a:close/>
              </a:path>
              <a:path w="1234439" h="893444">
                <a:moveTo>
                  <a:pt x="1134237" y="346570"/>
                </a:moveTo>
                <a:lnTo>
                  <a:pt x="1116586" y="348125"/>
                </a:lnTo>
                <a:lnTo>
                  <a:pt x="1099950" y="352613"/>
                </a:lnTo>
                <a:lnTo>
                  <a:pt x="1084595" y="359766"/>
                </a:lnTo>
                <a:lnTo>
                  <a:pt x="1070787" y="369315"/>
                </a:lnTo>
                <a:lnTo>
                  <a:pt x="1007979" y="396834"/>
                </a:lnTo>
                <a:lnTo>
                  <a:pt x="960007" y="405277"/>
                </a:lnTo>
                <a:lnTo>
                  <a:pt x="1224728" y="405277"/>
                </a:lnTo>
                <a:lnTo>
                  <a:pt x="1204874" y="375831"/>
                </a:lnTo>
                <a:lnTo>
                  <a:pt x="1173120" y="354421"/>
                </a:lnTo>
                <a:lnTo>
                  <a:pt x="1134237" y="346570"/>
                </a:lnTo>
                <a:close/>
              </a:path>
              <a:path w="1234439" h="893444">
                <a:moveTo>
                  <a:pt x="1070787" y="369303"/>
                </a:moveTo>
                <a:close/>
              </a:path>
            </a:pathLst>
          </a:custGeom>
          <a:solidFill>
            <a:srgbClr val="257D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g object 19"/>
          <p:cNvSpPr/>
          <p:nvPr/>
        </p:nvSpPr>
        <p:spPr>
          <a:xfrm>
            <a:off x="3206518" y="2020867"/>
            <a:ext cx="788035" cy="788035"/>
          </a:xfrm>
          <a:custGeom>
            <a:avLst/>
            <a:gdLst/>
            <a:ahLst/>
            <a:cxnLst/>
            <a:rect l="l" t="t" r="r" b="b"/>
            <a:pathLst>
              <a:path w="788035" h="788035">
                <a:moveTo>
                  <a:pt x="393839" y="0"/>
                </a:moveTo>
                <a:lnTo>
                  <a:pt x="344437" y="3068"/>
                </a:lnTo>
                <a:lnTo>
                  <a:pt x="296865" y="12028"/>
                </a:lnTo>
                <a:lnTo>
                  <a:pt x="251494" y="26511"/>
                </a:lnTo>
                <a:lnTo>
                  <a:pt x="208693" y="46147"/>
                </a:lnTo>
                <a:lnTo>
                  <a:pt x="168830" y="70566"/>
                </a:lnTo>
                <a:lnTo>
                  <a:pt x="132274" y="99401"/>
                </a:lnTo>
                <a:lnTo>
                  <a:pt x="99395" y="132281"/>
                </a:lnTo>
                <a:lnTo>
                  <a:pt x="70562" y="168838"/>
                </a:lnTo>
                <a:lnTo>
                  <a:pt x="46144" y="208702"/>
                </a:lnTo>
                <a:lnTo>
                  <a:pt x="26509" y="251505"/>
                </a:lnTo>
                <a:lnTo>
                  <a:pt x="12028" y="296877"/>
                </a:lnTo>
                <a:lnTo>
                  <a:pt x="3068" y="344449"/>
                </a:lnTo>
                <a:lnTo>
                  <a:pt x="0" y="393852"/>
                </a:lnTo>
                <a:lnTo>
                  <a:pt x="3068" y="443255"/>
                </a:lnTo>
                <a:lnTo>
                  <a:pt x="12028" y="490827"/>
                </a:lnTo>
                <a:lnTo>
                  <a:pt x="26509" y="536199"/>
                </a:lnTo>
                <a:lnTo>
                  <a:pt x="46144" y="579001"/>
                </a:lnTo>
                <a:lnTo>
                  <a:pt x="70562" y="618866"/>
                </a:lnTo>
                <a:lnTo>
                  <a:pt x="99395" y="655423"/>
                </a:lnTo>
                <a:lnTo>
                  <a:pt x="132274" y="688303"/>
                </a:lnTo>
                <a:lnTo>
                  <a:pt x="168830" y="717138"/>
                </a:lnTo>
                <a:lnTo>
                  <a:pt x="208693" y="741557"/>
                </a:lnTo>
                <a:lnTo>
                  <a:pt x="251494" y="761193"/>
                </a:lnTo>
                <a:lnTo>
                  <a:pt x="296865" y="775675"/>
                </a:lnTo>
                <a:lnTo>
                  <a:pt x="344437" y="784636"/>
                </a:lnTo>
                <a:lnTo>
                  <a:pt x="393839" y="787704"/>
                </a:lnTo>
                <a:lnTo>
                  <a:pt x="443245" y="784636"/>
                </a:lnTo>
                <a:lnTo>
                  <a:pt x="490818" y="775675"/>
                </a:lnTo>
                <a:lnTo>
                  <a:pt x="536191" y="761193"/>
                </a:lnTo>
                <a:lnTo>
                  <a:pt x="578994" y="741557"/>
                </a:lnTo>
                <a:lnTo>
                  <a:pt x="618859" y="717138"/>
                </a:lnTo>
                <a:lnTo>
                  <a:pt x="655415" y="688303"/>
                </a:lnTo>
                <a:lnTo>
                  <a:pt x="688295" y="655423"/>
                </a:lnTo>
                <a:lnTo>
                  <a:pt x="717128" y="618866"/>
                </a:lnTo>
                <a:lnTo>
                  <a:pt x="741547" y="579001"/>
                </a:lnTo>
                <a:lnTo>
                  <a:pt x="761182" y="536199"/>
                </a:lnTo>
                <a:lnTo>
                  <a:pt x="775663" y="490827"/>
                </a:lnTo>
                <a:lnTo>
                  <a:pt x="784623" y="443255"/>
                </a:lnTo>
                <a:lnTo>
                  <a:pt x="787692" y="393852"/>
                </a:lnTo>
                <a:lnTo>
                  <a:pt x="784623" y="344449"/>
                </a:lnTo>
                <a:lnTo>
                  <a:pt x="775663" y="296877"/>
                </a:lnTo>
                <a:lnTo>
                  <a:pt x="761182" y="251505"/>
                </a:lnTo>
                <a:lnTo>
                  <a:pt x="741547" y="208702"/>
                </a:lnTo>
                <a:lnTo>
                  <a:pt x="717128" y="168838"/>
                </a:lnTo>
                <a:lnTo>
                  <a:pt x="688295" y="132281"/>
                </a:lnTo>
                <a:lnTo>
                  <a:pt x="655415" y="99401"/>
                </a:lnTo>
                <a:lnTo>
                  <a:pt x="618859" y="70566"/>
                </a:lnTo>
                <a:lnTo>
                  <a:pt x="578994" y="46147"/>
                </a:lnTo>
                <a:lnTo>
                  <a:pt x="536191" y="26511"/>
                </a:lnTo>
                <a:lnTo>
                  <a:pt x="490818" y="12028"/>
                </a:lnTo>
                <a:lnTo>
                  <a:pt x="443245" y="3068"/>
                </a:lnTo>
                <a:lnTo>
                  <a:pt x="393839" y="0"/>
                </a:lnTo>
                <a:close/>
              </a:path>
            </a:pathLst>
          </a:custGeom>
          <a:solidFill>
            <a:srgbClr val="F7FAF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g object 20"/>
          <p:cNvSpPr/>
          <p:nvPr/>
        </p:nvSpPr>
        <p:spPr>
          <a:xfrm>
            <a:off x="4288132" y="1970467"/>
            <a:ext cx="731520" cy="889000"/>
          </a:xfrm>
          <a:custGeom>
            <a:avLst/>
            <a:gdLst/>
            <a:ahLst/>
            <a:cxnLst/>
            <a:rect l="l" t="t" r="r" b="b"/>
            <a:pathLst>
              <a:path w="731520" h="889000">
                <a:moveTo>
                  <a:pt x="731494" y="0"/>
                </a:moveTo>
                <a:lnTo>
                  <a:pt x="303872" y="0"/>
                </a:lnTo>
                <a:lnTo>
                  <a:pt x="254584" y="3977"/>
                </a:lnTo>
                <a:lnTo>
                  <a:pt x="207828" y="15491"/>
                </a:lnTo>
                <a:lnTo>
                  <a:pt x="164228" y="33916"/>
                </a:lnTo>
                <a:lnTo>
                  <a:pt x="124412" y="58628"/>
                </a:lnTo>
                <a:lnTo>
                  <a:pt x="89004" y="89000"/>
                </a:lnTo>
                <a:lnTo>
                  <a:pt x="58631" y="124406"/>
                </a:lnTo>
                <a:lnTo>
                  <a:pt x="33918" y="164223"/>
                </a:lnTo>
                <a:lnTo>
                  <a:pt x="15492" y="207823"/>
                </a:lnTo>
                <a:lnTo>
                  <a:pt x="3977" y="254581"/>
                </a:lnTo>
                <a:lnTo>
                  <a:pt x="0" y="303872"/>
                </a:lnTo>
                <a:lnTo>
                  <a:pt x="44371" y="311029"/>
                </a:lnTo>
                <a:lnTo>
                  <a:pt x="82905" y="330958"/>
                </a:lnTo>
                <a:lnTo>
                  <a:pt x="113291" y="361345"/>
                </a:lnTo>
                <a:lnTo>
                  <a:pt x="133217" y="399879"/>
                </a:lnTo>
                <a:lnTo>
                  <a:pt x="140373" y="444246"/>
                </a:lnTo>
                <a:lnTo>
                  <a:pt x="133217" y="488618"/>
                </a:lnTo>
                <a:lnTo>
                  <a:pt x="113291" y="527156"/>
                </a:lnTo>
                <a:lnTo>
                  <a:pt x="82905" y="557545"/>
                </a:lnTo>
                <a:lnTo>
                  <a:pt x="44371" y="577474"/>
                </a:lnTo>
                <a:lnTo>
                  <a:pt x="0" y="584631"/>
                </a:lnTo>
                <a:lnTo>
                  <a:pt x="3977" y="633923"/>
                </a:lnTo>
                <a:lnTo>
                  <a:pt x="15492" y="680681"/>
                </a:lnTo>
                <a:lnTo>
                  <a:pt x="33918" y="724281"/>
                </a:lnTo>
                <a:lnTo>
                  <a:pt x="58631" y="764097"/>
                </a:lnTo>
                <a:lnTo>
                  <a:pt x="89004" y="799504"/>
                </a:lnTo>
                <a:lnTo>
                  <a:pt x="124412" y="829876"/>
                </a:lnTo>
                <a:lnTo>
                  <a:pt x="164228" y="854588"/>
                </a:lnTo>
                <a:lnTo>
                  <a:pt x="207828" y="873013"/>
                </a:lnTo>
                <a:lnTo>
                  <a:pt x="254584" y="884527"/>
                </a:lnTo>
                <a:lnTo>
                  <a:pt x="303872" y="888504"/>
                </a:lnTo>
                <a:lnTo>
                  <a:pt x="731494" y="888504"/>
                </a:lnTo>
                <a:lnTo>
                  <a:pt x="731494" y="0"/>
                </a:lnTo>
                <a:close/>
              </a:path>
            </a:pathLst>
          </a:custGeom>
          <a:solidFill>
            <a:srgbClr val="2859C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g object 21"/>
          <p:cNvSpPr/>
          <p:nvPr/>
        </p:nvSpPr>
        <p:spPr>
          <a:xfrm>
            <a:off x="5019624" y="1970468"/>
            <a:ext cx="7169784" cy="889000"/>
          </a:xfrm>
          <a:custGeom>
            <a:avLst/>
            <a:gdLst/>
            <a:ahLst/>
            <a:cxnLst/>
            <a:rect l="l" t="t" r="r" b="b"/>
            <a:pathLst>
              <a:path w="7169784" h="889000">
                <a:moveTo>
                  <a:pt x="7169327" y="0"/>
                </a:moveTo>
                <a:lnTo>
                  <a:pt x="0" y="0"/>
                </a:lnTo>
                <a:lnTo>
                  <a:pt x="0" y="888504"/>
                </a:lnTo>
                <a:lnTo>
                  <a:pt x="7169327" y="888504"/>
                </a:lnTo>
                <a:lnTo>
                  <a:pt x="7169327" y="0"/>
                </a:lnTo>
                <a:close/>
              </a:path>
            </a:pathLst>
          </a:custGeom>
          <a:solidFill>
            <a:srgbClr val="F7FAF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bg object 22"/>
          <p:cNvSpPr/>
          <p:nvPr/>
        </p:nvSpPr>
        <p:spPr>
          <a:xfrm>
            <a:off x="3153895" y="3452831"/>
            <a:ext cx="1234440" cy="893444"/>
          </a:xfrm>
          <a:custGeom>
            <a:avLst/>
            <a:gdLst/>
            <a:ahLst/>
            <a:cxnLst/>
            <a:rect l="l" t="t" r="r" b="b"/>
            <a:pathLst>
              <a:path w="1234439" h="893445">
                <a:moveTo>
                  <a:pt x="446468" y="0"/>
                </a:moveTo>
                <a:lnTo>
                  <a:pt x="397819" y="2619"/>
                </a:lnTo>
                <a:lnTo>
                  <a:pt x="350688" y="10297"/>
                </a:lnTo>
                <a:lnTo>
                  <a:pt x="305347" y="22760"/>
                </a:lnTo>
                <a:lnTo>
                  <a:pt x="262069" y="39737"/>
                </a:lnTo>
                <a:lnTo>
                  <a:pt x="221124" y="60954"/>
                </a:lnTo>
                <a:lnTo>
                  <a:pt x="182787" y="86140"/>
                </a:lnTo>
                <a:lnTo>
                  <a:pt x="147329" y="115023"/>
                </a:lnTo>
                <a:lnTo>
                  <a:pt x="115023" y="147329"/>
                </a:lnTo>
                <a:lnTo>
                  <a:pt x="86140" y="182787"/>
                </a:lnTo>
                <a:lnTo>
                  <a:pt x="60954" y="221124"/>
                </a:lnTo>
                <a:lnTo>
                  <a:pt x="39737" y="262069"/>
                </a:lnTo>
                <a:lnTo>
                  <a:pt x="22760" y="305347"/>
                </a:lnTo>
                <a:lnTo>
                  <a:pt x="10297" y="350688"/>
                </a:lnTo>
                <a:lnTo>
                  <a:pt x="2619" y="397819"/>
                </a:lnTo>
                <a:lnTo>
                  <a:pt x="0" y="446468"/>
                </a:lnTo>
                <a:lnTo>
                  <a:pt x="2619" y="495114"/>
                </a:lnTo>
                <a:lnTo>
                  <a:pt x="10297" y="542244"/>
                </a:lnTo>
                <a:lnTo>
                  <a:pt x="22760" y="587584"/>
                </a:lnTo>
                <a:lnTo>
                  <a:pt x="39737" y="630862"/>
                </a:lnTo>
                <a:lnTo>
                  <a:pt x="60954" y="671806"/>
                </a:lnTo>
                <a:lnTo>
                  <a:pt x="86140" y="710143"/>
                </a:lnTo>
                <a:lnTo>
                  <a:pt x="115023" y="745602"/>
                </a:lnTo>
                <a:lnTo>
                  <a:pt x="147329" y="777909"/>
                </a:lnTo>
                <a:lnTo>
                  <a:pt x="182787" y="806792"/>
                </a:lnTo>
                <a:lnTo>
                  <a:pt x="221124" y="831979"/>
                </a:lnTo>
                <a:lnTo>
                  <a:pt x="262069" y="853197"/>
                </a:lnTo>
                <a:lnTo>
                  <a:pt x="305347" y="870175"/>
                </a:lnTo>
                <a:lnTo>
                  <a:pt x="350688" y="882638"/>
                </a:lnTo>
                <a:lnTo>
                  <a:pt x="397819" y="890317"/>
                </a:lnTo>
                <a:lnTo>
                  <a:pt x="446468" y="892936"/>
                </a:lnTo>
                <a:lnTo>
                  <a:pt x="496159" y="890201"/>
                </a:lnTo>
                <a:lnTo>
                  <a:pt x="544257" y="882189"/>
                </a:lnTo>
                <a:lnTo>
                  <a:pt x="590470" y="869191"/>
                </a:lnTo>
                <a:lnTo>
                  <a:pt x="634510" y="851499"/>
                </a:lnTo>
                <a:lnTo>
                  <a:pt x="676086" y="829402"/>
                </a:lnTo>
                <a:lnTo>
                  <a:pt x="714908" y="803193"/>
                </a:lnTo>
                <a:lnTo>
                  <a:pt x="750687" y="773161"/>
                </a:lnTo>
                <a:lnTo>
                  <a:pt x="783131" y="739597"/>
                </a:lnTo>
                <a:lnTo>
                  <a:pt x="811953" y="702794"/>
                </a:lnTo>
                <a:lnTo>
                  <a:pt x="836860" y="663040"/>
                </a:lnTo>
                <a:lnTo>
                  <a:pt x="857564" y="620629"/>
                </a:lnTo>
                <a:lnTo>
                  <a:pt x="873775" y="575849"/>
                </a:lnTo>
                <a:lnTo>
                  <a:pt x="885202" y="528993"/>
                </a:lnTo>
                <a:lnTo>
                  <a:pt x="900608" y="508890"/>
                </a:lnTo>
                <a:lnTo>
                  <a:pt x="924879" y="493516"/>
                </a:lnTo>
                <a:lnTo>
                  <a:pt x="960007" y="487655"/>
                </a:lnTo>
                <a:lnTo>
                  <a:pt x="1224729" y="487655"/>
                </a:lnTo>
                <a:lnTo>
                  <a:pt x="1226284" y="485349"/>
                </a:lnTo>
                <a:lnTo>
                  <a:pt x="1234135" y="446468"/>
                </a:lnTo>
                <a:lnTo>
                  <a:pt x="1226284" y="407585"/>
                </a:lnTo>
                <a:lnTo>
                  <a:pt x="1224730" y="405280"/>
                </a:lnTo>
                <a:lnTo>
                  <a:pt x="960007" y="405280"/>
                </a:lnTo>
                <a:lnTo>
                  <a:pt x="924879" y="399418"/>
                </a:lnTo>
                <a:lnTo>
                  <a:pt x="900608" y="384039"/>
                </a:lnTo>
                <a:lnTo>
                  <a:pt x="885202" y="363931"/>
                </a:lnTo>
                <a:lnTo>
                  <a:pt x="873775" y="317074"/>
                </a:lnTo>
                <a:lnTo>
                  <a:pt x="857564" y="272295"/>
                </a:lnTo>
                <a:lnTo>
                  <a:pt x="836860" y="229885"/>
                </a:lnTo>
                <a:lnTo>
                  <a:pt x="811953" y="190132"/>
                </a:lnTo>
                <a:lnTo>
                  <a:pt x="783131" y="153330"/>
                </a:lnTo>
                <a:lnTo>
                  <a:pt x="750687" y="119768"/>
                </a:lnTo>
                <a:lnTo>
                  <a:pt x="714908" y="89738"/>
                </a:lnTo>
                <a:lnTo>
                  <a:pt x="676086" y="63530"/>
                </a:lnTo>
                <a:lnTo>
                  <a:pt x="634510" y="41434"/>
                </a:lnTo>
                <a:lnTo>
                  <a:pt x="590470" y="23743"/>
                </a:lnTo>
                <a:lnTo>
                  <a:pt x="544257" y="10746"/>
                </a:lnTo>
                <a:lnTo>
                  <a:pt x="496159" y="2735"/>
                </a:lnTo>
                <a:lnTo>
                  <a:pt x="446468" y="0"/>
                </a:lnTo>
                <a:close/>
              </a:path>
              <a:path w="1234439" h="893445">
                <a:moveTo>
                  <a:pt x="1224729" y="487655"/>
                </a:moveTo>
                <a:lnTo>
                  <a:pt x="960007" y="487655"/>
                </a:lnTo>
                <a:lnTo>
                  <a:pt x="1007979" y="496095"/>
                </a:lnTo>
                <a:lnTo>
                  <a:pt x="1070787" y="523620"/>
                </a:lnTo>
                <a:lnTo>
                  <a:pt x="1084595" y="533163"/>
                </a:lnTo>
                <a:lnTo>
                  <a:pt x="1099950" y="540311"/>
                </a:lnTo>
                <a:lnTo>
                  <a:pt x="1116586" y="544798"/>
                </a:lnTo>
                <a:lnTo>
                  <a:pt x="1134237" y="546353"/>
                </a:lnTo>
                <a:lnTo>
                  <a:pt x="1173120" y="538505"/>
                </a:lnTo>
                <a:lnTo>
                  <a:pt x="1204874" y="517099"/>
                </a:lnTo>
                <a:lnTo>
                  <a:pt x="1224729" y="487655"/>
                </a:lnTo>
                <a:close/>
              </a:path>
              <a:path w="1234439" h="893445">
                <a:moveTo>
                  <a:pt x="1134237" y="346570"/>
                </a:moveTo>
                <a:lnTo>
                  <a:pt x="1116586" y="348125"/>
                </a:lnTo>
                <a:lnTo>
                  <a:pt x="1099950" y="352613"/>
                </a:lnTo>
                <a:lnTo>
                  <a:pt x="1084595" y="359766"/>
                </a:lnTo>
                <a:lnTo>
                  <a:pt x="1070787" y="369315"/>
                </a:lnTo>
                <a:lnTo>
                  <a:pt x="1007979" y="396841"/>
                </a:lnTo>
                <a:lnTo>
                  <a:pt x="960007" y="405280"/>
                </a:lnTo>
                <a:lnTo>
                  <a:pt x="1224730" y="405280"/>
                </a:lnTo>
                <a:lnTo>
                  <a:pt x="1204874" y="375831"/>
                </a:lnTo>
                <a:lnTo>
                  <a:pt x="1173120" y="354421"/>
                </a:lnTo>
                <a:lnTo>
                  <a:pt x="1134237" y="346570"/>
                </a:lnTo>
                <a:close/>
              </a:path>
            </a:pathLst>
          </a:custGeom>
          <a:solidFill>
            <a:srgbClr val="FFB01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bg object 23"/>
          <p:cNvSpPr/>
          <p:nvPr/>
        </p:nvSpPr>
        <p:spPr>
          <a:xfrm>
            <a:off x="3206518" y="3505443"/>
            <a:ext cx="788035" cy="788035"/>
          </a:xfrm>
          <a:custGeom>
            <a:avLst/>
            <a:gdLst/>
            <a:ahLst/>
            <a:cxnLst/>
            <a:rect l="l" t="t" r="r" b="b"/>
            <a:pathLst>
              <a:path w="788035" h="788035">
                <a:moveTo>
                  <a:pt x="393839" y="0"/>
                </a:moveTo>
                <a:lnTo>
                  <a:pt x="344437" y="3068"/>
                </a:lnTo>
                <a:lnTo>
                  <a:pt x="296865" y="12028"/>
                </a:lnTo>
                <a:lnTo>
                  <a:pt x="251494" y="26511"/>
                </a:lnTo>
                <a:lnTo>
                  <a:pt x="208693" y="46147"/>
                </a:lnTo>
                <a:lnTo>
                  <a:pt x="168830" y="70566"/>
                </a:lnTo>
                <a:lnTo>
                  <a:pt x="132274" y="99401"/>
                </a:lnTo>
                <a:lnTo>
                  <a:pt x="99395" y="132281"/>
                </a:lnTo>
                <a:lnTo>
                  <a:pt x="70562" y="168838"/>
                </a:lnTo>
                <a:lnTo>
                  <a:pt x="46144" y="208702"/>
                </a:lnTo>
                <a:lnTo>
                  <a:pt x="26509" y="251505"/>
                </a:lnTo>
                <a:lnTo>
                  <a:pt x="12028" y="296877"/>
                </a:lnTo>
                <a:lnTo>
                  <a:pt x="3068" y="344449"/>
                </a:lnTo>
                <a:lnTo>
                  <a:pt x="0" y="393852"/>
                </a:lnTo>
                <a:lnTo>
                  <a:pt x="3068" y="443255"/>
                </a:lnTo>
                <a:lnTo>
                  <a:pt x="12028" y="490827"/>
                </a:lnTo>
                <a:lnTo>
                  <a:pt x="26509" y="536199"/>
                </a:lnTo>
                <a:lnTo>
                  <a:pt x="46144" y="579001"/>
                </a:lnTo>
                <a:lnTo>
                  <a:pt x="70562" y="618866"/>
                </a:lnTo>
                <a:lnTo>
                  <a:pt x="99395" y="655423"/>
                </a:lnTo>
                <a:lnTo>
                  <a:pt x="132274" y="688303"/>
                </a:lnTo>
                <a:lnTo>
                  <a:pt x="168830" y="717138"/>
                </a:lnTo>
                <a:lnTo>
                  <a:pt x="208693" y="741557"/>
                </a:lnTo>
                <a:lnTo>
                  <a:pt x="251494" y="761193"/>
                </a:lnTo>
                <a:lnTo>
                  <a:pt x="296865" y="775675"/>
                </a:lnTo>
                <a:lnTo>
                  <a:pt x="344437" y="784636"/>
                </a:lnTo>
                <a:lnTo>
                  <a:pt x="393839" y="787704"/>
                </a:lnTo>
                <a:lnTo>
                  <a:pt x="443245" y="784636"/>
                </a:lnTo>
                <a:lnTo>
                  <a:pt x="490818" y="775675"/>
                </a:lnTo>
                <a:lnTo>
                  <a:pt x="536191" y="761193"/>
                </a:lnTo>
                <a:lnTo>
                  <a:pt x="578994" y="741557"/>
                </a:lnTo>
                <a:lnTo>
                  <a:pt x="618859" y="717138"/>
                </a:lnTo>
                <a:lnTo>
                  <a:pt x="655415" y="688303"/>
                </a:lnTo>
                <a:lnTo>
                  <a:pt x="688295" y="655423"/>
                </a:lnTo>
                <a:lnTo>
                  <a:pt x="717128" y="618866"/>
                </a:lnTo>
                <a:lnTo>
                  <a:pt x="741547" y="579001"/>
                </a:lnTo>
                <a:lnTo>
                  <a:pt x="761182" y="536199"/>
                </a:lnTo>
                <a:lnTo>
                  <a:pt x="775663" y="490827"/>
                </a:lnTo>
                <a:lnTo>
                  <a:pt x="784623" y="443255"/>
                </a:lnTo>
                <a:lnTo>
                  <a:pt x="787692" y="393852"/>
                </a:lnTo>
                <a:lnTo>
                  <a:pt x="784623" y="344449"/>
                </a:lnTo>
                <a:lnTo>
                  <a:pt x="775663" y="296877"/>
                </a:lnTo>
                <a:lnTo>
                  <a:pt x="761182" y="251505"/>
                </a:lnTo>
                <a:lnTo>
                  <a:pt x="741547" y="208702"/>
                </a:lnTo>
                <a:lnTo>
                  <a:pt x="717128" y="168838"/>
                </a:lnTo>
                <a:lnTo>
                  <a:pt x="688295" y="132281"/>
                </a:lnTo>
                <a:lnTo>
                  <a:pt x="655415" y="99401"/>
                </a:lnTo>
                <a:lnTo>
                  <a:pt x="618859" y="70566"/>
                </a:lnTo>
                <a:lnTo>
                  <a:pt x="578994" y="46147"/>
                </a:lnTo>
                <a:lnTo>
                  <a:pt x="536191" y="26511"/>
                </a:lnTo>
                <a:lnTo>
                  <a:pt x="490818" y="12028"/>
                </a:lnTo>
                <a:lnTo>
                  <a:pt x="443245" y="3068"/>
                </a:lnTo>
                <a:lnTo>
                  <a:pt x="393839" y="0"/>
                </a:lnTo>
                <a:close/>
              </a:path>
            </a:pathLst>
          </a:custGeom>
          <a:solidFill>
            <a:srgbClr val="F7FAF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bg object 24"/>
          <p:cNvSpPr/>
          <p:nvPr/>
        </p:nvSpPr>
        <p:spPr>
          <a:xfrm>
            <a:off x="4288132" y="3455043"/>
            <a:ext cx="731520" cy="889000"/>
          </a:xfrm>
          <a:custGeom>
            <a:avLst/>
            <a:gdLst/>
            <a:ahLst/>
            <a:cxnLst/>
            <a:rect l="l" t="t" r="r" b="b"/>
            <a:pathLst>
              <a:path w="731520" h="889000">
                <a:moveTo>
                  <a:pt x="731494" y="0"/>
                </a:moveTo>
                <a:lnTo>
                  <a:pt x="303872" y="0"/>
                </a:lnTo>
                <a:lnTo>
                  <a:pt x="254584" y="3977"/>
                </a:lnTo>
                <a:lnTo>
                  <a:pt x="207828" y="15491"/>
                </a:lnTo>
                <a:lnTo>
                  <a:pt x="164228" y="33916"/>
                </a:lnTo>
                <a:lnTo>
                  <a:pt x="124412" y="58628"/>
                </a:lnTo>
                <a:lnTo>
                  <a:pt x="89004" y="89000"/>
                </a:lnTo>
                <a:lnTo>
                  <a:pt x="58631" y="124406"/>
                </a:lnTo>
                <a:lnTo>
                  <a:pt x="33918" y="164223"/>
                </a:lnTo>
                <a:lnTo>
                  <a:pt x="15492" y="207823"/>
                </a:lnTo>
                <a:lnTo>
                  <a:pt x="3977" y="254581"/>
                </a:lnTo>
                <a:lnTo>
                  <a:pt x="0" y="303872"/>
                </a:lnTo>
                <a:lnTo>
                  <a:pt x="44371" y="311029"/>
                </a:lnTo>
                <a:lnTo>
                  <a:pt x="82905" y="330959"/>
                </a:lnTo>
                <a:lnTo>
                  <a:pt x="113291" y="361348"/>
                </a:lnTo>
                <a:lnTo>
                  <a:pt x="133217" y="399885"/>
                </a:lnTo>
                <a:lnTo>
                  <a:pt x="140373" y="444258"/>
                </a:lnTo>
                <a:lnTo>
                  <a:pt x="133217" y="488625"/>
                </a:lnTo>
                <a:lnTo>
                  <a:pt x="113291" y="527159"/>
                </a:lnTo>
                <a:lnTo>
                  <a:pt x="82905" y="557546"/>
                </a:lnTo>
                <a:lnTo>
                  <a:pt x="44371" y="577474"/>
                </a:lnTo>
                <a:lnTo>
                  <a:pt x="0" y="584631"/>
                </a:lnTo>
                <a:lnTo>
                  <a:pt x="3977" y="633923"/>
                </a:lnTo>
                <a:lnTo>
                  <a:pt x="15492" y="680681"/>
                </a:lnTo>
                <a:lnTo>
                  <a:pt x="33918" y="724281"/>
                </a:lnTo>
                <a:lnTo>
                  <a:pt x="58631" y="764097"/>
                </a:lnTo>
                <a:lnTo>
                  <a:pt x="89004" y="799504"/>
                </a:lnTo>
                <a:lnTo>
                  <a:pt x="124412" y="829876"/>
                </a:lnTo>
                <a:lnTo>
                  <a:pt x="164228" y="854588"/>
                </a:lnTo>
                <a:lnTo>
                  <a:pt x="207828" y="873013"/>
                </a:lnTo>
                <a:lnTo>
                  <a:pt x="254584" y="884527"/>
                </a:lnTo>
                <a:lnTo>
                  <a:pt x="303872" y="888504"/>
                </a:lnTo>
                <a:lnTo>
                  <a:pt x="731494" y="888504"/>
                </a:lnTo>
                <a:lnTo>
                  <a:pt x="731494" y="0"/>
                </a:lnTo>
                <a:close/>
              </a:path>
            </a:pathLst>
          </a:custGeom>
          <a:solidFill>
            <a:srgbClr val="FF7D1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bg object 25"/>
          <p:cNvSpPr/>
          <p:nvPr/>
        </p:nvSpPr>
        <p:spPr>
          <a:xfrm>
            <a:off x="5019624" y="3455034"/>
            <a:ext cx="7169784" cy="889000"/>
          </a:xfrm>
          <a:custGeom>
            <a:avLst/>
            <a:gdLst/>
            <a:ahLst/>
            <a:cxnLst/>
            <a:rect l="l" t="t" r="r" b="b"/>
            <a:pathLst>
              <a:path w="7169784" h="889000">
                <a:moveTo>
                  <a:pt x="7169327" y="0"/>
                </a:moveTo>
                <a:lnTo>
                  <a:pt x="0" y="0"/>
                </a:lnTo>
                <a:lnTo>
                  <a:pt x="0" y="888517"/>
                </a:lnTo>
                <a:lnTo>
                  <a:pt x="7169327" y="888517"/>
                </a:lnTo>
                <a:lnTo>
                  <a:pt x="7169327" y="0"/>
                </a:lnTo>
                <a:close/>
              </a:path>
            </a:pathLst>
          </a:custGeom>
          <a:solidFill>
            <a:srgbClr val="F7FAF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bg object 26"/>
          <p:cNvSpPr/>
          <p:nvPr/>
        </p:nvSpPr>
        <p:spPr>
          <a:xfrm>
            <a:off x="3153895" y="4937408"/>
            <a:ext cx="1234440" cy="893444"/>
          </a:xfrm>
          <a:custGeom>
            <a:avLst/>
            <a:gdLst/>
            <a:ahLst/>
            <a:cxnLst/>
            <a:rect l="l" t="t" r="r" b="b"/>
            <a:pathLst>
              <a:path w="1234439" h="893445">
                <a:moveTo>
                  <a:pt x="446468" y="0"/>
                </a:moveTo>
                <a:lnTo>
                  <a:pt x="397819" y="2619"/>
                </a:lnTo>
                <a:lnTo>
                  <a:pt x="350688" y="10297"/>
                </a:lnTo>
                <a:lnTo>
                  <a:pt x="305347" y="22760"/>
                </a:lnTo>
                <a:lnTo>
                  <a:pt x="262069" y="39737"/>
                </a:lnTo>
                <a:lnTo>
                  <a:pt x="221124" y="60954"/>
                </a:lnTo>
                <a:lnTo>
                  <a:pt x="182787" y="86140"/>
                </a:lnTo>
                <a:lnTo>
                  <a:pt x="147329" y="115023"/>
                </a:lnTo>
                <a:lnTo>
                  <a:pt x="115023" y="147329"/>
                </a:lnTo>
                <a:lnTo>
                  <a:pt x="86140" y="182787"/>
                </a:lnTo>
                <a:lnTo>
                  <a:pt x="60954" y="221124"/>
                </a:lnTo>
                <a:lnTo>
                  <a:pt x="39737" y="262069"/>
                </a:lnTo>
                <a:lnTo>
                  <a:pt x="22760" y="305347"/>
                </a:lnTo>
                <a:lnTo>
                  <a:pt x="10297" y="350688"/>
                </a:lnTo>
                <a:lnTo>
                  <a:pt x="2619" y="397819"/>
                </a:lnTo>
                <a:lnTo>
                  <a:pt x="0" y="446468"/>
                </a:lnTo>
                <a:lnTo>
                  <a:pt x="2619" y="495114"/>
                </a:lnTo>
                <a:lnTo>
                  <a:pt x="10297" y="542244"/>
                </a:lnTo>
                <a:lnTo>
                  <a:pt x="22760" y="587584"/>
                </a:lnTo>
                <a:lnTo>
                  <a:pt x="39737" y="630862"/>
                </a:lnTo>
                <a:lnTo>
                  <a:pt x="60954" y="671806"/>
                </a:lnTo>
                <a:lnTo>
                  <a:pt x="86140" y="710143"/>
                </a:lnTo>
                <a:lnTo>
                  <a:pt x="115023" y="745602"/>
                </a:lnTo>
                <a:lnTo>
                  <a:pt x="147329" y="777909"/>
                </a:lnTo>
                <a:lnTo>
                  <a:pt x="182787" y="806792"/>
                </a:lnTo>
                <a:lnTo>
                  <a:pt x="221124" y="831979"/>
                </a:lnTo>
                <a:lnTo>
                  <a:pt x="262069" y="853197"/>
                </a:lnTo>
                <a:lnTo>
                  <a:pt x="305347" y="870175"/>
                </a:lnTo>
                <a:lnTo>
                  <a:pt x="350688" y="882638"/>
                </a:lnTo>
                <a:lnTo>
                  <a:pt x="397819" y="890317"/>
                </a:lnTo>
                <a:lnTo>
                  <a:pt x="446468" y="892937"/>
                </a:lnTo>
                <a:lnTo>
                  <a:pt x="496159" y="890201"/>
                </a:lnTo>
                <a:lnTo>
                  <a:pt x="544257" y="882189"/>
                </a:lnTo>
                <a:lnTo>
                  <a:pt x="590470" y="869191"/>
                </a:lnTo>
                <a:lnTo>
                  <a:pt x="634510" y="851499"/>
                </a:lnTo>
                <a:lnTo>
                  <a:pt x="676086" y="829402"/>
                </a:lnTo>
                <a:lnTo>
                  <a:pt x="714908" y="803193"/>
                </a:lnTo>
                <a:lnTo>
                  <a:pt x="750687" y="773161"/>
                </a:lnTo>
                <a:lnTo>
                  <a:pt x="783131" y="739597"/>
                </a:lnTo>
                <a:lnTo>
                  <a:pt x="811953" y="702794"/>
                </a:lnTo>
                <a:lnTo>
                  <a:pt x="836860" y="663040"/>
                </a:lnTo>
                <a:lnTo>
                  <a:pt x="857564" y="620629"/>
                </a:lnTo>
                <a:lnTo>
                  <a:pt x="873775" y="575849"/>
                </a:lnTo>
                <a:lnTo>
                  <a:pt x="885202" y="528993"/>
                </a:lnTo>
                <a:lnTo>
                  <a:pt x="900608" y="508889"/>
                </a:lnTo>
                <a:lnTo>
                  <a:pt x="924879" y="493512"/>
                </a:lnTo>
                <a:lnTo>
                  <a:pt x="960007" y="487650"/>
                </a:lnTo>
                <a:lnTo>
                  <a:pt x="1224732" y="487650"/>
                </a:lnTo>
                <a:lnTo>
                  <a:pt x="1226284" y="485349"/>
                </a:lnTo>
                <a:lnTo>
                  <a:pt x="1234135" y="446468"/>
                </a:lnTo>
                <a:lnTo>
                  <a:pt x="1226284" y="407585"/>
                </a:lnTo>
                <a:lnTo>
                  <a:pt x="1224728" y="405277"/>
                </a:lnTo>
                <a:lnTo>
                  <a:pt x="960007" y="405277"/>
                </a:lnTo>
                <a:lnTo>
                  <a:pt x="924879" y="399417"/>
                </a:lnTo>
                <a:lnTo>
                  <a:pt x="900608" y="384039"/>
                </a:lnTo>
                <a:lnTo>
                  <a:pt x="885202" y="363931"/>
                </a:lnTo>
                <a:lnTo>
                  <a:pt x="873775" y="317074"/>
                </a:lnTo>
                <a:lnTo>
                  <a:pt x="857564" y="272295"/>
                </a:lnTo>
                <a:lnTo>
                  <a:pt x="836860" y="229885"/>
                </a:lnTo>
                <a:lnTo>
                  <a:pt x="811953" y="190132"/>
                </a:lnTo>
                <a:lnTo>
                  <a:pt x="783131" y="153330"/>
                </a:lnTo>
                <a:lnTo>
                  <a:pt x="750687" y="119768"/>
                </a:lnTo>
                <a:lnTo>
                  <a:pt x="714908" y="89738"/>
                </a:lnTo>
                <a:lnTo>
                  <a:pt x="676086" y="63530"/>
                </a:lnTo>
                <a:lnTo>
                  <a:pt x="634510" y="41434"/>
                </a:lnTo>
                <a:lnTo>
                  <a:pt x="590470" y="23743"/>
                </a:lnTo>
                <a:lnTo>
                  <a:pt x="544257" y="10746"/>
                </a:lnTo>
                <a:lnTo>
                  <a:pt x="496159" y="2735"/>
                </a:lnTo>
                <a:lnTo>
                  <a:pt x="446468" y="0"/>
                </a:lnTo>
                <a:close/>
              </a:path>
              <a:path w="1234439" h="893445">
                <a:moveTo>
                  <a:pt x="1224732" y="487650"/>
                </a:moveTo>
                <a:lnTo>
                  <a:pt x="960007" y="487650"/>
                </a:lnTo>
                <a:lnTo>
                  <a:pt x="1007979" y="496090"/>
                </a:lnTo>
                <a:lnTo>
                  <a:pt x="1070787" y="523621"/>
                </a:lnTo>
                <a:lnTo>
                  <a:pt x="1084595" y="533163"/>
                </a:lnTo>
                <a:lnTo>
                  <a:pt x="1099950" y="540311"/>
                </a:lnTo>
                <a:lnTo>
                  <a:pt x="1116586" y="544798"/>
                </a:lnTo>
                <a:lnTo>
                  <a:pt x="1134237" y="546354"/>
                </a:lnTo>
                <a:lnTo>
                  <a:pt x="1173120" y="538505"/>
                </a:lnTo>
                <a:lnTo>
                  <a:pt x="1204874" y="517099"/>
                </a:lnTo>
                <a:lnTo>
                  <a:pt x="1224732" y="487650"/>
                </a:lnTo>
                <a:close/>
              </a:path>
              <a:path w="1234439" h="893445">
                <a:moveTo>
                  <a:pt x="1134237" y="346570"/>
                </a:moveTo>
                <a:lnTo>
                  <a:pt x="1116586" y="348125"/>
                </a:lnTo>
                <a:lnTo>
                  <a:pt x="1099950" y="352613"/>
                </a:lnTo>
                <a:lnTo>
                  <a:pt x="1084595" y="359766"/>
                </a:lnTo>
                <a:lnTo>
                  <a:pt x="1070787" y="369316"/>
                </a:lnTo>
                <a:lnTo>
                  <a:pt x="1007979" y="396834"/>
                </a:lnTo>
                <a:lnTo>
                  <a:pt x="960007" y="405277"/>
                </a:lnTo>
                <a:lnTo>
                  <a:pt x="1224728" y="405277"/>
                </a:lnTo>
                <a:lnTo>
                  <a:pt x="1204874" y="375831"/>
                </a:lnTo>
                <a:lnTo>
                  <a:pt x="1173120" y="354421"/>
                </a:lnTo>
                <a:lnTo>
                  <a:pt x="1134237" y="346570"/>
                </a:lnTo>
                <a:close/>
              </a:path>
              <a:path w="1234439" h="893445">
                <a:moveTo>
                  <a:pt x="1070787" y="369303"/>
                </a:moveTo>
                <a:close/>
              </a:path>
            </a:pathLst>
          </a:custGeom>
          <a:solidFill>
            <a:srgbClr val="A035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bg object 27"/>
          <p:cNvSpPr/>
          <p:nvPr/>
        </p:nvSpPr>
        <p:spPr>
          <a:xfrm>
            <a:off x="3206518" y="4990019"/>
            <a:ext cx="788035" cy="788035"/>
          </a:xfrm>
          <a:custGeom>
            <a:avLst/>
            <a:gdLst/>
            <a:ahLst/>
            <a:cxnLst/>
            <a:rect l="l" t="t" r="r" b="b"/>
            <a:pathLst>
              <a:path w="788035" h="788035">
                <a:moveTo>
                  <a:pt x="393839" y="0"/>
                </a:moveTo>
                <a:lnTo>
                  <a:pt x="344437" y="3068"/>
                </a:lnTo>
                <a:lnTo>
                  <a:pt x="296865" y="12028"/>
                </a:lnTo>
                <a:lnTo>
                  <a:pt x="251494" y="26511"/>
                </a:lnTo>
                <a:lnTo>
                  <a:pt x="208693" y="46147"/>
                </a:lnTo>
                <a:lnTo>
                  <a:pt x="168830" y="70566"/>
                </a:lnTo>
                <a:lnTo>
                  <a:pt x="132274" y="99401"/>
                </a:lnTo>
                <a:lnTo>
                  <a:pt x="99395" y="132281"/>
                </a:lnTo>
                <a:lnTo>
                  <a:pt x="70562" y="168838"/>
                </a:lnTo>
                <a:lnTo>
                  <a:pt x="46144" y="208702"/>
                </a:lnTo>
                <a:lnTo>
                  <a:pt x="26509" y="251505"/>
                </a:lnTo>
                <a:lnTo>
                  <a:pt x="12028" y="296877"/>
                </a:lnTo>
                <a:lnTo>
                  <a:pt x="3068" y="344449"/>
                </a:lnTo>
                <a:lnTo>
                  <a:pt x="0" y="393852"/>
                </a:lnTo>
                <a:lnTo>
                  <a:pt x="3068" y="443255"/>
                </a:lnTo>
                <a:lnTo>
                  <a:pt x="12028" y="490827"/>
                </a:lnTo>
                <a:lnTo>
                  <a:pt x="26509" y="536199"/>
                </a:lnTo>
                <a:lnTo>
                  <a:pt x="46144" y="579001"/>
                </a:lnTo>
                <a:lnTo>
                  <a:pt x="70562" y="618866"/>
                </a:lnTo>
                <a:lnTo>
                  <a:pt x="99395" y="655423"/>
                </a:lnTo>
                <a:lnTo>
                  <a:pt x="132274" y="688303"/>
                </a:lnTo>
                <a:lnTo>
                  <a:pt x="168830" y="717138"/>
                </a:lnTo>
                <a:lnTo>
                  <a:pt x="208693" y="741557"/>
                </a:lnTo>
                <a:lnTo>
                  <a:pt x="251494" y="761193"/>
                </a:lnTo>
                <a:lnTo>
                  <a:pt x="296865" y="775675"/>
                </a:lnTo>
                <a:lnTo>
                  <a:pt x="344437" y="784636"/>
                </a:lnTo>
                <a:lnTo>
                  <a:pt x="393839" y="787704"/>
                </a:lnTo>
                <a:lnTo>
                  <a:pt x="443245" y="784636"/>
                </a:lnTo>
                <a:lnTo>
                  <a:pt x="490818" y="775675"/>
                </a:lnTo>
                <a:lnTo>
                  <a:pt x="536191" y="761193"/>
                </a:lnTo>
                <a:lnTo>
                  <a:pt x="578994" y="741557"/>
                </a:lnTo>
                <a:lnTo>
                  <a:pt x="618859" y="717138"/>
                </a:lnTo>
                <a:lnTo>
                  <a:pt x="655415" y="688303"/>
                </a:lnTo>
                <a:lnTo>
                  <a:pt x="688295" y="655423"/>
                </a:lnTo>
                <a:lnTo>
                  <a:pt x="717128" y="618866"/>
                </a:lnTo>
                <a:lnTo>
                  <a:pt x="741547" y="579001"/>
                </a:lnTo>
                <a:lnTo>
                  <a:pt x="761182" y="536199"/>
                </a:lnTo>
                <a:lnTo>
                  <a:pt x="775663" y="490827"/>
                </a:lnTo>
                <a:lnTo>
                  <a:pt x="784623" y="443255"/>
                </a:lnTo>
                <a:lnTo>
                  <a:pt x="787692" y="393852"/>
                </a:lnTo>
                <a:lnTo>
                  <a:pt x="784623" y="344449"/>
                </a:lnTo>
                <a:lnTo>
                  <a:pt x="775663" y="296877"/>
                </a:lnTo>
                <a:lnTo>
                  <a:pt x="761182" y="251505"/>
                </a:lnTo>
                <a:lnTo>
                  <a:pt x="741547" y="208702"/>
                </a:lnTo>
                <a:lnTo>
                  <a:pt x="717128" y="168838"/>
                </a:lnTo>
                <a:lnTo>
                  <a:pt x="688295" y="132281"/>
                </a:lnTo>
                <a:lnTo>
                  <a:pt x="655415" y="99401"/>
                </a:lnTo>
                <a:lnTo>
                  <a:pt x="618859" y="70566"/>
                </a:lnTo>
                <a:lnTo>
                  <a:pt x="578994" y="46147"/>
                </a:lnTo>
                <a:lnTo>
                  <a:pt x="536191" y="26511"/>
                </a:lnTo>
                <a:lnTo>
                  <a:pt x="490818" y="12028"/>
                </a:lnTo>
                <a:lnTo>
                  <a:pt x="443245" y="3068"/>
                </a:lnTo>
                <a:lnTo>
                  <a:pt x="393839" y="0"/>
                </a:lnTo>
                <a:close/>
              </a:path>
            </a:pathLst>
          </a:custGeom>
          <a:solidFill>
            <a:srgbClr val="F7FAF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bg object 28"/>
          <p:cNvSpPr/>
          <p:nvPr/>
        </p:nvSpPr>
        <p:spPr>
          <a:xfrm>
            <a:off x="4288132" y="4939619"/>
            <a:ext cx="731520" cy="889000"/>
          </a:xfrm>
          <a:custGeom>
            <a:avLst/>
            <a:gdLst/>
            <a:ahLst/>
            <a:cxnLst/>
            <a:rect l="l" t="t" r="r" b="b"/>
            <a:pathLst>
              <a:path w="731520" h="889000">
                <a:moveTo>
                  <a:pt x="731494" y="0"/>
                </a:moveTo>
                <a:lnTo>
                  <a:pt x="303872" y="0"/>
                </a:lnTo>
                <a:lnTo>
                  <a:pt x="254584" y="3977"/>
                </a:lnTo>
                <a:lnTo>
                  <a:pt x="207828" y="15491"/>
                </a:lnTo>
                <a:lnTo>
                  <a:pt x="164228" y="33916"/>
                </a:lnTo>
                <a:lnTo>
                  <a:pt x="124412" y="58628"/>
                </a:lnTo>
                <a:lnTo>
                  <a:pt x="89004" y="89000"/>
                </a:lnTo>
                <a:lnTo>
                  <a:pt x="58631" y="124406"/>
                </a:lnTo>
                <a:lnTo>
                  <a:pt x="33918" y="164223"/>
                </a:lnTo>
                <a:lnTo>
                  <a:pt x="15492" y="207823"/>
                </a:lnTo>
                <a:lnTo>
                  <a:pt x="3977" y="254581"/>
                </a:lnTo>
                <a:lnTo>
                  <a:pt x="0" y="303872"/>
                </a:lnTo>
                <a:lnTo>
                  <a:pt x="44371" y="311029"/>
                </a:lnTo>
                <a:lnTo>
                  <a:pt x="82905" y="330958"/>
                </a:lnTo>
                <a:lnTo>
                  <a:pt x="113291" y="361345"/>
                </a:lnTo>
                <a:lnTo>
                  <a:pt x="133217" y="399879"/>
                </a:lnTo>
                <a:lnTo>
                  <a:pt x="140373" y="444245"/>
                </a:lnTo>
                <a:lnTo>
                  <a:pt x="133217" y="488618"/>
                </a:lnTo>
                <a:lnTo>
                  <a:pt x="113291" y="527156"/>
                </a:lnTo>
                <a:lnTo>
                  <a:pt x="82905" y="557545"/>
                </a:lnTo>
                <a:lnTo>
                  <a:pt x="44371" y="577474"/>
                </a:lnTo>
                <a:lnTo>
                  <a:pt x="0" y="584631"/>
                </a:lnTo>
                <a:lnTo>
                  <a:pt x="3977" y="633923"/>
                </a:lnTo>
                <a:lnTo>
                  <a:pt x="15492" y="680681"/>
                </a:lnTo>
                <a:lnTo>
                  <a:pt x="33918" y="724281"/>
                </a:lnTo>
                <a:lnTo>
                  <a:pt x="58631" y="764097"/>
                </a:lnTo>
                <a:lnTo>
                  <a:pt x="89004" y="799504"/>
                </a:lnTo>
                <a:lnTo>
                  <a:pt x="124412" y="829876"/>
                </a:lnTo>
                <a:lnTo>
                  <a:pt x="164228" y="854588"/>
                </a:lnTo>
                <a:lnTo>
                  <a:pt x="207828" y="873013"/>
                </a:lnTo>
                <a:lnTo>
                  <a:pt x="254584" y="884527"/>
                </a:lnTo>
                <a:lnTo>
                  <a:pt x="303872" y="888504"/>
                </a:lnTo>
                <a:lnTo>
                  <a:pt x="731494" y="888504"/>
                </a:lnTo>
                <a:lnTo>
                  <a:pt x="731494" y="0"/>
                </a:lnTo>
                <a:close/>
              </a:path>
            </a:pathLst>
          </a:custGeom>
          <a:solidFill>
            <a:srgbClr val="711F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bg object 29"/>
          <p:cNvSpPr/>
          <p:nvPr/>
        </p:nvSpPr>
        <p:spPr>
          <a:xfrm>
            <a:off x="5019624" y="4939614"/>
            <a:ext cx="7169784" cy="889000"/>
          </a:xfrm>
          <a:custGeom>
            <a:avLst/>
            <a:gdLst/>
            <a:ahLst/>
            <a:cxnLst/>
            <a:rect l="l" t="t" r="r" b="b"/>
            <a:pathLst>
              <a:path w="7169784" h="889000">
                <a:moveTo>
                  <a:pt x="7169327" y="0"/>
                </a:moveTo>
                <a:lnTo>
                  <a:pt x="0" y="0"/>
                </a:lnTo>
                <a:lnTo>
                  <a:pt x="0" y="888504"/>
                </a:lnTo>
                <a:lnTo>
                  <a:pt x="7169327" y="888504"/>
                </a:lnTo>
                <a:lnTo>
                  <a:pt x="7169327" y="0"/>
                </a:lnTo>
                <a:close/>
              </a:path>
            </a:pathLst>
          </a:custGeom>
          <a:solidFill>
            <a:srgbClr val="F7FAF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bg object 30"/>
          <p:cNvSpPr/>
          <p:nvPr/>
        </p:nvSpPr>
        <p:spPr>
          <a:xfrm>
            <a:off x="3371659" y="2243276"/>
            <a:ext cx="457834" cy="3312160"/>
          </a:xfrm>
          <a:custGeom>
            <a:avLst/>
            <a:gdLst/>
            <a:ahLst/>
            <a:cxnLst/>
            <a:rect l="l" t="t" r="r" b="b"/>
            <a:pathLst>
              <a:path w="457835" h="3312160">
                <a:moveTo>
                  <a:pt x="457403" y="3017228"/>
                </a:moveTo>
                <a:lnTo>
                  <a:pt x="409333" y="2969158"/>
                </a:lnTo>
                <a:lnTo>
                  <a:pt x="162560" y="3215919"/>
                </a:lnTo>
                <a:lnTo>
                  <a:pt x="48069" y="3101429"/>
                </a:lnTo>
                <a:lnTo>
                  <a:pt x="0" y="3149498"/>
                </a:lnTo>
                <a:lnTo>
                  <a:pt x="162560" y="3312058"/>
                </a:lnTo>
                <a:lnTo>
                  <a:pt x="457403" y="3017228"/>
                </a:lnTo>
                <a:close/>
              </a:path>
              <a:path w="457835" h="3312160">
                <a:moveTo>
                  <a:pt x="457403" y="1532648"/>
                </a:moveTo>
                <a:lnTo>
                  <a:pt x="409333" y="1484579"/>
                </a:lnTo>
                <a:lnTo>
                  <a:pt x="162560" y="1731340"/>
                </a:lnTo>
                <a:lnTo>
                  <a:pt x="48069" y="1616849"/>
                </a:lnTo>
                <a:lnTo>
                  <a:pt x="0" y="1664919"/>
                </a:lnTo>
                <a:lnTo>
                  <a:pt x="162560" y="1827479"/>
                </a:lnTo>
                <a:lnTo>
                  <a:pt x="457403" y="1532648"/>
                </a:lnTo>
                <a:close/>
              </a:path>
              <a:path w="457835" h="3312160">
                <a:moveTo>
                  <a:pt x="457403" y="48069"/>
                </a:moveTo>
                <a:lnTo>
                  <a:pt x="409333" y="0"/>
                </a:lnTo>
                <a:lnTo>
                  <a:pt x="162560" y="246761"/>
                </a:lnTo>
                <a:lnTo>
                  <a:pt x="48069" y="132270"/>
                </a:lnTo>
                <a:lnTo>
                  <a:pt x="0" y="180340"/>
                </a:lnTo>
                <a:lnTo>
                  <a:pt x="162560" y="342900"/>
                </a:lnTo>
                <a:lnTo>
                  <a:pt x="457403" y="48069"/>
                </a:lnTo>
                <a:close/>
              </a:path>
            </a:pathLst>
          </a:custGeom>
          <a:solidFill>
            <a:srgbClr val="FFC20E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1" name="bg object 31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0760178" y="465890"/>
            <a:ext cx="198081" cy="231025"/>
          </a:xfrm>
          <a:prstGeom prst="rect">
            <a:avLst/>
          </a:prstGeom>
        </p:spPr>
      </p:pic>
      <p:sp>
        <p:nvSpPr>
          <p:cNvPr id="32" name="bg object 32"/>
          <p:cNvSpPr/>
          <p:nvPr/>
        </p:nvSpPr>
        <p:spPr>
          <a:xfrm>
            <a:off x="10967508" y="457203"/>
            <a:ext cx="593090" cy="248920"/>
          </a:xfrm>
          <a:custGeom>
            <a:avLst/>
            <a:gdLst/>
            <a:ahLst/>
            <a:cxnLst/>
            <a:rect l="l" t="t" r="r" b="b"/>
            <a:pathLst>
              <a:path w="593090" h="248920">
                <a:moveTo>
                  <a:pt x="358025" y="0"/>
                </a:moveTo>
                <a:lnTo>
                  <a:pt x="316334" y="6054"/>
                </a:lnTo>
                <a:lnTo>
                  <a:pt x="279006" y="25463"/>
                </a:lnTo>
                <a:lnTo>
                  <a:pt x="252980" y="54422"/>
                </a:lnTo>
                <a:lnTo>
                  <a:pt x="236347" y="89687"/>
                </a:lnTo>
                <a:lnTo>
                  <a:pt x="236347" y="9715"/>
                </a:lnTo>
                <a:lnTo>
                  <a:pt x="194682" y="22566"/>
                </a:lnTo>
                <a:lnTo>
                  <a:pt x="161707" y="49599"/>
                </a:lnTo>
                <a:lnTo>
                  <a:pt x="136664" y="85567"/>
                </a:lnTo>
                <a:lnTo>
                  <a:pt x="118795" y="125222"/>
                </a:lnTo>
                <a:lnTo>
                  <a:pt x="109735" y="104052"/>
                </a:lnTo>
                <a:lnTo>
                  <a:pt x="87275" y="64141"/>
                </a:lnTo>
                <a:lnTo>
                  <a:pt x="57064" y="31941"/>
                </a:lnTo>
                <a:lnTo>
                  <a:pt x="20843" y="13272"/>
                </a:lnTo>
                <a:lnTo>
                  <a:pt x="0" y="9715"/>
                </a:lnTo>
                <a:lnTo>
                  <a:pt x="0" y="239712"/>
                </a:lnTo>
                <a:lnTo>
                  <a:pt x="55460" y="239712"/>
                </a:lnTo>
                <a:lnTo>
                  <a:pt x="55460" y="115163"/>
                </a:lnTo>
                <a:lnTo>
                  <a:pt x="71311" y="144004"/>
                </a:lnTo>
                <a:lnTo>
                  <a:pt x="82616" y="174818"/>
                </a:lnTo>
                <a:lnTo>
                  <a:pt x="89554" y="206942"/>
                </a:lnTo>
                <a:lnTo>
                  <a:pt x="92303" y="239712"/>
                </a:lnTo>
                <a:lnTo>
                  <a:pt x="144475" y="239712"/>
                </a:lnTo>
                <a:lnTo>
                  <a:pt x="146762" y="206873"/>
                </a:lnTo>
                <a:lnTo>
                  <a:pt x="153000" y="174375"/>
                </a:lnTo>
                <a:lnTo>
                  <a:pt x="164081" y="143409"/>
                </a:lnTo>
                <a:lnTo>
                  <a:pt x="180898" y="115163"/>
                </a:lnTo>
                <a:lnTo>
                  <a:pt x="180898" y="239712"/>
                </a:lnTo>
                <a:lnTo>
                  <a:pt x="236347" y="239712"/>
                </a:lnTo>
                <a:lnTo>
                  <a:pt x="236347" y="159461"/>
                </a:lnTo>
                <a:lnTo>
                  <a:pt x="242168" y="177262"/>
                </a:lnTo>
                <a:lnTo>
                  <a:pt x="250228" y="193775"/>
                </a:lnTo>
                <a:lnTo>
                  <a:pt x="291702" y="234271"/>
                </a:lnTo>
                <a:lnTo>
                  <a:pt x="331759" y="247078"/>
                </a:lnTo>
                <a:lnTo>
                  <a:pt x="353098" y="248539"/>
                </a:lnTo>
                <a:lnTo>
                  <a:pt x="380824" y="245710"/>
                </a:lnTo>
                <a:lnTo>
                  <a:pt x="429889" y="223212"/>
                </a:lnTo>
                <a:lnTo>
                  <a:pt x="458181" y="191669"/>
                </a:lnTo>
                <a:lnTo>
                  <a:pt x="474294" y="151866"/>
                </a:lnTo>
                <a:lnTo>
                  <a:pt x="474294" y="239712"/>
                </a:lnTo>
                <a:lnTo>
                  <a:pt x="592810" y="239712"/>
                </a:lnTo>
                <a:lnTo>
                  <a:pt x="592810" y="184391"/>
                </a:lnTo>
                <a:lnTo>
                  <a:pt x="530923" y="184391"/>
                </a:lnTo>
                <a:lnTo>
                  <a:pt x="530923" y="151866"/>
                </a:lnTo>
                <a:lnTo>
                  <a:pt x="592810" y="151866"/>
                </a:lnTo>
                <a:lnTo>
                  <a:pt x="592810" y="96951"/>
                </a:lnTo>
                <a:lnTo>
                  <a:pt x="530923" y="96951"/>
                </a:lnTo>
                <a:lnTo>
                  <a:pt x="530923" y="65049"/>
                </a:lnTo>
                <a:lnTo>
                  <a:pt x="592810" y="65049"/>
                </a:lnTo>
                <a:lnTo>
                  <a:pt x="592810" y="9715"/>
                </a:lnTo>
                <a:lnTo>
                  <a:pt x="474294" y="9715"/>
                </a:lnTo>
                <a:lnTo>
                  <a:pt x="474294" y="96951"/>
                </a:lnTo>
                <a:lnTo>
                  <a:pt x="347891" y="96951"/>
                </a:lnTo>
                <a:lnTo>
                  <a:pt x="347891" y="151866"/>
                </a:lnTo>
                <a:lnTo>
                  <a:pt x="416090" y="151866"/>
                </a:lnTo>
                <a:lnTo>
                  <a:pt x="413141" y="158608"/>
                </a:lnTo>
                <a:lnTo>
                  <a:pt x="379355" y="190453"/>
                </a:lnTo>
                <a:lnTo>
                  <a:pt x="353987" y="194729"/>
                </a:lnTo>
                <a:lnTo>
                  <a:pt x="325618" y="189380"/>
                </a:lnTo>
                <a:lnTo>
                  <a:pt x="303872" y="174531"/>
                </a:lnTo>
                <a:lnTo>
                  <a:pt x="289946" y="151979"/>
                </a:lnTo>
                <a:lnTo>
                  <a:pt x="285038" y="123520"/>
                </a:lnTo>
                <a:lnTo>
                  <a:pt x="290348" y="96051"/>
                </a:lnTo>
                <a:lnTo>
                  <a:pt x="304973" y="74279"/>
                </a:lnTo>
                <a:lnTo>
                  <a:pt x="326952" y="59940"/>
                </a:lnTo>
                <a:lnTo>
                  <a:pt x="354330" y="54775"/>
                </a:lnTo>
                <a:lnTo>
                  <a:pt x="372189" y="56605"/>
                </a:lnTo>
                <a:lnTo>
                  <a:pt x="388070" y="62388"/>
                </a:lnTo>
                <a:lnTo>
                  <a:pt x="401203" y="72563"/>
                </a:lnTo>
                <a:lnTo>
                  <a:pt x="410819" y="87566"/>
                </a:lnTo>
                <a:lnTo>
                  <a:pt x="470103" y="87566"/>
                </a:lnTo>
                <a:lnTo>
                  <a:pt x="455954" y="51815"/>
                </a:lnTo>
                <a:lnTo>
                  <a:pt x="429909" y="24166"/>
                </a:lnTo>
                <a:lnTo>
                  <a:pt x="395942" y="6325"/>
                </a:lnTo>
                <a:lnTo>
                  <a:pt x="35802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3" name="bg object 33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1569487" y="466793"/>
            <a:ext cx="162267" cy="230124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024-05-16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5829348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and Takeaway_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F4BA461A-240D-E877-408F-9DE26CE11C8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67285" y="2161309"/>
            <a:ext cx="11459589" cy="229639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7D8F6F53-5D6A-B7D1-E934-127054AF6F3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7286" y="1574800"/>
            <a:ext cx="11459589" cy="412750"/>
          </a:xfrm>
        </p:spPr>
        <p:txBody>
          <a:bodyPr/>
          <a:lstStyle>
            <a:lvl1pPr marL="0" indent="0">
              <a:buNone/>
              <a:defRPr b="1" i="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D50C4556-A8A5-B202-62A2-406BA8465C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7286" y="4867275"/>
            <a:ext cx="11459588" cy="822325"/>
          </a:xfrm>
          <a:noFill/>
        </p:spPr>
        <p:txBody>
          <a:bodyPr anchor="ctr"/>
          <a:lstStyle>
            <a:lvl1pPr marL="0" indent="0" algn="l">
              <a:buNone/>
              <a:defRPr b="1" i="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274320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548640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917391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1218956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CLICK TO ADD TAKEAWAY</a:t>
            </a:r>
          </a:p>
        </p:txBody>
      </p:sp>
      <p:sp>
        <p:nvSpPr>
          <p:cNvPr id="8" name="Title Placeholder 6">
            <a:extLst>
              <a:ext uri="{FF2B5EF4-FFF2-40B4-BE49-F238E27FC236}">
                <a16:creationId xmlns:a16="http://schemas.microsoft.com/office/drawing/2014/main" id="{8BB0B106-C721-639B-D509-06DA5A0568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6011968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and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507CE2A-A32A-FDFB-C3C9-ACCB1A8FC8F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574800"/>
            <a:ext cx="4059936" cy="4114801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EC9213B5-827D-C71F-EF1A-7FC0B0C74C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44263" y="1574800"/>
            <a:ext cx="4059936" cy="4114801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37BAA8D4-D7AA-9D91-4F96-00C161C4F30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2131" y="1574800"/>
            <a:ext cx="4059936" cy="4114800"/>
          </a:xfrm>
          <a:gradFill>
            <a:gsLst>
              <a:gs pos="0">
                <a:schemeClr val="accent2"/>
              </a:gs>
              <a:gs pos="81000">
                <a:schemeClr val="accent1"/>
              </a:gs>
            </a:gsLst>
            <a:lin ang="2700000" scaled="1"/>
          </a:gradFill>
        </p:spPr>
        <p:txBody>
          <a:bodyPr lIns="548640" tIns="457200" rIns="548640" bIns="457200" anchor="ctr" anchorCtr="0"/>
          <a:lstStyle>
            <a:lvl1pPr marL="0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274320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548640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917391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1218956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6">
            <a:extLst>
              <a:ext uri="{FF2B5EF4-FFF2-40B4-BE49-F238E27FC236}">
                <a16:creationId xmlns:a16="http://schemas.microsoft.com/office/drawing/2014/main" id="{32556B1E-92C0-FF17-34F3-F0B2F7F8C5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6905020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ane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507CE2A-A32A-FDFB-C3C9-ACCB1A8FC8F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574800"/>
            <a:ext cx="4048125" cy="4114801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EC9213B5-827D-C71F-EF1A-7FC0B0C74C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40700" y="1574800"/>
            <a:ext cx="4059556" cy="4114801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0EF2BBE-22ED-FE3F-3717-D0206AC89C6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48126" y="1574800"/>
            <a:ext cx="4092574" cy="4114801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27AFA4C9-F353-EFC2-0E28-99A47913C0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2591997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507CE2A-A32A-FDFB-C3C9-ACCB1A8FC8F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574800"/>
            <a:ext cx="12192000" cy="4114801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Title Placeholder 6">
            <a:extLst>
              <a:ext uri="{FF2B5EF4-FFF2-40B4-BE49-F238E27FC236}">
                <a16:creationId xmlns:a16="http://schemas.microsoft.com/office/drawing/2014/main" id="{CADBF2AD-EE6C-ABE0-CB3B-C30862383B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0657385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with L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507CE2A-A32A-FDFB-C3C9-ACCB1A8FC8F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574800"/>
            <a:ext cx="5989320" cy="3292475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D32751F7-C423-4BF6-B332-A88D7DE725E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04334" y="1574800"/>
            <a:ext cx="5987666" cy="3292475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E194A7D9-53FF-1665-CBB2-EE47190B8F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1" y="4867275"/>
            <a:ext cx="5987666" cy="822324"/>
          </a:xfrm>
          <a:gradFill>
            <a:gsLst>
              <a:gs pos="0">
                <a:schemeClr val="accent2"/>
              </a:gs>
              <a:gs pos="31500">
                <a:srgbClr val="0090D4"/>
              </a:gs>
              <a:gs pos="63000">
                <a:schemeClr val="accent1"/>
              </a:gs>
            </a:gsLst>
            <a:lin ang="720000" scaled="0"/>
          </a:gradFill>
        </p:spPr>
        <p:txBody>
          <a:bodyPr anchor="ctr"/>
          <a:lstStyle>
            <a:lvl1pPr marL="0" indent="0" algn="ctr">
              <a:buNone/>
              <a:defRPr sz="180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Photo titl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63A00F1-1319-E5A2-4E6B-332C233E9A2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2679" y="4867275"/>
            <a:ext cx="5987666" cy="822324"/>
          </a:xfrm>
          <a:gradFill>
            <a:gsLst>
              <a:gs pos="0">
                <a:schemeClr val="accent2"/>
              </a:gs>
              <a:gs pos="31500">
                <a:srgbClr val="0090D4"/>
              </a:gs>
              <a:gs pos="63000">
                <a:schemeClr val="accent1"/>
              </a:gs>
            </a:gsLst>
            <a:lin ang="720000" scaled="0"/>
          </a:gradFill>
        </p:spPr>
        <p:txBody>
          <a:bodyPr anchor="ctr"/>
          <a:lstStyle>
            <a:lvl1pPr marL="0" indent="0" algn="ctr">
              <a:buNone/>
              <a:defRPr sz="180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Photo title</a:t>
            </a:r>
          </a:p>
        </p:txBody>
      </p:sp>
      <p:sp>
        <p:nvSpPr>
          <p:cNvPr id="8" name="Title Placeholder 6">
            <a:extLst>
              <a:ext uri="{FF2B5EF4-FFF2-40B4-BE49-F238E27FC236}">
                <a16:creationId xmlns:a16="http://schemas.microsoft.com/office/drawing/2014/main" id="{68A4D2D3-4E8C-03CC-D5CF-F9F6FC16CF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6444667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507CE2A-A32A-FDFB-C3C9-ACCB1A8FC8F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502400" y="1574800"/>
            <a:ext cx="2457450" cy="4114801"/>
          </a:xfrm>
          <a:solidFill>
            <a:schemeClr val="tx2">
              <a:lumMod val="40000"/>
              <a:lumOff val="6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478B418E-4070-C63D-241C-2774A3FC78D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574801"/>
            <a:ext cx="6502399" cy="2057399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DE74BD90-A83A-1901-41A0-21FE5E119B1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225799" y="3632200"/>
            <a:ext cx="3276600" cy="2057399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78014880-258D-BEA4-65D8-7CD8165D911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59850" y="1574801"/>
            <a:ext cx="3226933" cy="2057399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A0E4F7DF-234E-148E-00D8-7B89319F6C7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59850" y="3632200"/>
            <a:ext cx="3226933" cy="2057399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01107484-51EE-8311-7A3E-FF87A3DB7CD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1" y="3632200"/>
            <a:ext cx="3225799" cy="2057399"/>
          </a:xfrm>
          <a:solidFill>
            <a:schemeClr val="tx2">
              <a:lumMod val="40000"/>
              <a:lumOff val="6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Title Placeholder 6">
            <a:extLst>
              <a:ext uri="{FF2B5EF4-FFF2-40B4-BE49-F238E27FC236}">
                <a16:creationId xmlns:a16="http://schemas.microsoft.com/office/drawing/2014/main" id="{A4D5B246-C7A9-4D5F-9C9B-61F4EB8664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1118528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tream_al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252DF42-1B24-E9B1-F26F-6CF440EE5D13}"/>
              </a:ext>
            </a:extLst>
          </p:cNvPr>
          <p:cNvSpPr/>
          <p:nvPr userDrawn="1"/>
        </p:nvSpPr>
        <p:spPr>
          <a:xfrm>
            <a:off x="767891" y="5954256"/>
            <a:ext cx="2888343" cy="903744"/>
          </a:xfrm>
          <a:prstGeom prst="rect">
            <a:avLst/>
          </a:prstGeom>
          <a:solidFill>
            <a:schemeClr val="bg1"/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9D645E1-4862-8D64-AE7A-47627A914695}"/>
              </a:ext>
            </a:extLst>
          </p:cNvPr>
          <p:cNvSpPr/>
          <p:nvPr userDrawn="1"/>
        </p:nvSpPr>
        <p:spPr>
          <a:xfrm>
            <a:off x="1048512" y="6362931"/>
            <a:ext cx="2260377" cy="208385"/>
          </a:xfrm>
          <a:prstGeom prst="rect">
            <a:avLst/>
          </a:prstGeom>
          <a:solidFill>
            <a:schemeClr val="bg1"/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AD3AC29-E555-4156-D017-773CC40A61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7285" y="5679583"/>
            <a:ext cx="8193024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71FB1242-F8A0-C971-9637-73C9F6AD1C9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7286" y="1574800"/>
            <a:ext cx="10647363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556EC04-D0E9-4E75-E319-52A1C00A1A6D}"/>
              </a:ext>
            </a:extLst>
          </p:cNvPr>
          <p:cNvSpPr>
            <a:spLocks noGrp="1" noChangeArrowheads="1"/>
          </p:cNvSpPr>
          <p:nvPr userDrawn="1"/>
        </p:nvSpPr>
        <p:spPr bwMode="gray">
          <a:xfrm>
            <a:off x="367285" y="6332043"/>
            <a:ext cx="409575" cy="2083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 defTabSz="775867" eaLnBrk="1" hangingPunct="1">
              <a:defRPr/>
            </a:pPr>
            <a:fld id="{3DBC93D6-C358-9648-9CB7-FB101C9037AB}" type="slidenum">
              <a:rPr lang="en-US" sz="800">
                <a:solidFill>
                  <a:schemeClr val="bg1">
                    <a:lumMod val="65000"/>
                  </a:schemeClr>
                </a:solidFill>
                <a:latin typeface="Century Gothic" panose="020B0502020202020204" pitchFamily="34" charset="0"/>
              </a:rPr>
              <a:pPr algn="l" defTabSz="775867" eaLnBrk="1" hangingPunct="1">
                <a:defRPr/>
              </a:pPr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3B91F8D5-9357-63C1-00EC-5DCE903EFC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415779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tream_al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FD2F8FD-C59F-0497-1C96-F9ED88751A96}"/>
              </a:ext>
            </a:extLst>
          </p:cNvPr>
          <p:cNvSpPr/>
          <p:nvPr userDrawn="1"/>
        </p:nvSpPr>
        <p:spPr>
          <a:xfrm>
            <a:off x="767891" y="5954256"/>
            <a:ext cx="2888343" cy="903744"/>
          </a:xfrm>
          <a:prstGeom prst="rect">
            <a:avLst/>
          </a:prstGeom>
          <a:solidFill>
            <a:schemeClr val="bg1"/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4E6DBC2-A26A-8D43-BE88-D4C7E492D743}"/>
              </a:ext>
            </a:extLst>
          </p:cNvPr>
          <p:cNvSpPr/>
          <p:nvPr userDrawn="1"/>
        </p:nvSpPr>
        <p:spPr>
          <a:xfrm>
            <a:off x="1048512" y="6362931"/>
            <a:ext cx="2260377" cy="208385"/>
          </a:xfrm>
          <a:prstGeom prst="rect">
            <a:avLst/>
          </a:prstGeom>
          <a:solidFill>
            <a:schemeClr val="bg1"/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B865AC6-A05A-4E55-3F12-48C6AEE67458}"/>
              </a:ext>
            </a:extLst>
          </p:cNvPr>
          <p:cNvSpPr>
            <a:spLocks noGrp="1" noChangeArrowheads="1"/>
          </p:cNvSpPr>
          <p:nvPr userDrawn="1"/>
        </p:nvSpPr>
        <p:spPr bwMode="gray">
          <a:xfrm>
            <a:off x="367285" y="6332043"/>
            <a:ext cx="409575" cy="2083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 defTabSz="775867" eaLnBrk="1" hangingPunct="1">
              <a:defRPr/>
            </a:pPr>
            <a:fld id="{3DBC93D6-C358-9648-9CB7-FB101C9037AB}" type="slidenum">
              <a:rPr lang="en-US" sz="800">
                <a:solidFill>
                  <a:schemeClr val="bg1">
                    <a:lumMod val="65000"/>
                  </a:schemeClr>
                </a:solidFill>
                <a:latin typeface="Century Gothic" panose="020B0502020202020204" pitchFamily="34" charset="0"/>
              </a:rPr>
              <a:pPr algn="l" defTabSz="775867" eaLnBrk="1" hangingPunct="1">
                <a:defRPr/>
              </a:pPr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AD3AC29-E555-4156-D017-773CC40A61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7285" y="5679583"/>
            <a:ext cx="8193024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94273455-FF6F-8ADE-DD2B-25DEE0A3269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7286" y="1574800"/>
            <a:ext cx="10647363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Placeholder 6">
            <a:extLst>
              <a:ext uri="{FF2B5EF4-FFF2-40B4-BE49-F238E27FC236}">
                <a16:creationId xmlns:a16="http://schemas.microsoft.com/office/drawing/2014/main" id="{9E19FE9F-36BF-354C-3021-23F88658EB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3388257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tream_al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870000D-D716-8CF4-F243-6EC433C7AC36}"/>
              </a:ext>
            </a:extLst>
          </p:cNvPr>
          <p:cNvSpPr/>
          <p:nvPr userDrawn="1"/>
        </p:nvSpPr>
        <p:spPr>
          <a:xfrm>
            <a:off x="0" y="5698671"/>
            <a:ext cx="5976257" cy="1159329"/>
          </a:xfrm>
          <a:prstGeom prst="rect">
            <a:avLst/>
          </a:prstGeom>
          <a:solidFill>
            <a:schemeClr val="bg1"/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067A75E-5AAD-9992-F70C-EBFB8D563C53}"/>
              </a:ext>
            </a:extLst>
          </p:cNvPr>
          <p:cNvSpPr/>
          <p:nvPr userDrawn="1"/>
        </p:nvSpPr>
        <p:spPr>
          <a:xfrm>
            <a:off x="1819275" y="6327648"/>
            <a:ext cx="1549400" cy="228367"/>
          </a:xfrm>
          <a:prstGeom prst="rect">
            <a:avLst/>
          </a:prstGeom>
          <a:solidFill>
            <a:schemeClr val="bg1"/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B84323-2C1E-F13E-B63A-4329FB369D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7285" y="5404104"/>
            <a:ext cx="8193024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D301C193-5767-C664-938C-B7C2447B718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7286" y="1574800"/>
            <a:ext cx="10647363" cy="37052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62759C-62D6-43EB-ED30-D1DB0EE55731}"/>
              </a:ext>
            </a:extLst>
          </p:cNvPr>
          <p:cNvSpPr>
            <a:spLocks noGrp="1" noChangeArrowheads="1"/>
          </p:cNvSpPr>
          <p:nvPr userDrawn="1"/>
        </p:nvSpPr>
        <p:spPr bwMode="gray">
          <a:xfrm>
            <a:off x="384582" y="6299769"/>
            <a:ext cx="409575" cy="2083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 defTabSz="775867" eaLnBrk="1" hangingPunct="1">
              <a:defRPr/>
            </a:pPr>
            <a:fld id="{3DBC93D6-C358-9648-9CB7-FB101C9037AB}" type="slidenum">
              <a:rPr lang="en-US" sz="800">
                <a:solidFill>
                  <a:schemeClr val="bg1"/>
                </a:solidFill>
                <a:latin typeface="Century Gothic" panose="020B0502020202020204" pitchFamily="34" charset="0"/>
              </a:rPr>
              <a:pPr algn="l" defTabSz="775867" eaLnBrk="1" hangingPunct="1">
                <a:defRPr/>
              </a:pPr>
              <a:t>‹#›</a:t>
            </a:fld>
            <a:endParaRPr lang="en-US" sz="8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Title Placeholder 6">
            <a:extLst>
              <a:ext uri="{FF2B5EF4-FFF2-40B4-BE49-F238E27FC236}">
                <a16:creationId xmlns:a16="http://schemas.microsoft.com/office/drawing/2014/main" id="{9F27C0C5-A621-1875-6DD1-05E7F2B8E7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90281998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tream_alt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870000D-D716-8CF4-F243-6EC433C7AC36}"/>
              </a:ext>
            </a:extLst>
          </p:cNvPr>
          <p:cNvSpPr/>
          <p:nvPr userDrawn="1"/>
        </p:nvSpPr>
        <p:spPr>
          <a:xfrm>
            <a:off x="0" y="5698671"/>
            <a:ext cx="5976257" cy="1159329"/>
          </a:xfrm>
          <a:prstGeom prst="rect">
            <a:avLst/>
          </a:prstGeom>
          <a:solidFill>
            <a:schemeClr val="bg1"/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067A75E-5AAD-9992-F70C-EBFB8D563C53}"/>
              </a:ext>
            </a:extLst>
          </p:cNvPr>
          <p:cNvSpPr/>
          <p:nvPr userDrawn="1"/>
        </p:nvSpPr>
        <p:spPr>
          <a:xfrm>
            <a:off x="1819275" y="6327648"/>
            <a:ext cx="1549400" cy="228367"/>
          </a:xfrm>
          <a:prstGeom prst="rect">
            <a:avLst/>
          </a:prstGeom>
          <a:solidFill>
            <a:schemeClr val="bg1"/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A8DB81A-8D46-EDD0-A9C3-EC82C50747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7285" y="5404104"/>
            <a:ext cx="8193024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74B82DF6-1BD0-235D-4322-670F89E6565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7286" y="1574800"/>
            <a:ext cx="10647363" cy="37052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4E9F018-2B30-8466-9630-77384C22E5B8}"/>
              </a:ext>
            </a:extLst>
          </p:cNvPr>
          <p:cNvSpPr>
            <a:spLocks noGrp="1" noChangeArrowheads="1"/>
          </p:cNvSpPr>
          <p:nvPr userDrawn="1"/>
        </p:nvSpPr>
        <p:spPr bwMode="gray">
          <a:xfrm>
            <a:off x="384582" y="6299769"/>
            <a:ext cx="409575" cy="2083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 defTabSz="775867" eaLnBrk="1" hangingPunct="1">
              <a:defRPr/>
            </a:pPr>
            <a:fld id="{3DBC93D6-C358-9648-9CB7-FB101C9037AB}" type="slidenum">
              <a:rPr lang="en-US" sz="800">
                <a:solidFill>
                  <a:schemeClr val="bg1"/>
                </a:solidFill>
                <a:latin typeface="Century Gothic" panose="020B0502020202020204" pitchFamily="34" charset="0"/>
              </a:rPr>
              <a:pPr algn="l" defTabSz="775867" eaLnBrk="1" hangingPunct="1">
                <a:defRPr/>
              </a:pPr>
              <a:t>‹#›</a:t>
            </a:fld>
            <a:endParaRPr lang="en-US" sz="8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Title Placeholder 6">
            <a:extLst>
              <a:ext uri="{FF2B5EF4-FFF2-40B4-BE49-F238E27FC236}">
                <a16:creationId xmlns:a16="http://schemas.microsoft.com/office/drawing/2014/main" id="{9913E819-8D52-8A95-7D31-C73BEC59D8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3924970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1_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50B24137-05D7-FA7F-8E73-50CFAF0BB3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2401" y="5598870"/>
            <a:ext cx="8997028" cy="427008"/>
          </a:xfrm>
        </p:spPr>
        <p:txBody>
          <a:bodyPr tIns="0"/>
          <a:lstStyle>
            <a:lvl1pPr marL="0" indent="0" algn="l">
              <a:lnSpc>
                <a:spcPts val="2340"/>
              </a:lnSpc>
              <a:spcBef>
                <a:spcPts val="0"/>
              </a:spcBef>
              <a:spcAft>
                <a:spcPts val="0"/>
              </a:spcAft>
              <a:buNone/>
              <a:defRPr sz="1900" b="1" i="0" cap="none" spc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4770400-B5E3-8E86-16D3-74444D1AD3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2401" y="4685665"/>
            <a:ext cx="8997024" cy="685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200"/>
              </a:lnSpc>
              <a:defRPr sz="3800" b="1" i="0" cap="none" spc="0" baseline="0">
                <a:solidFill>
                  <a:schemeClr val="bg1"/>
                </a:solidFill>
                <a:effectLst/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4A9F4E6B-1C6D-07C3-BCA9-E78964CD84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2401" y="5887534"/>
            <a:ext cx="8997028" cy="427008"/>
          </a:xfrm>
        </p:spPr>
        <p:txBody>
          <a:bodyPr tIns="0"/>
          <a:lstStyle>
            <a:lvl1pPr marL="0" indent="0" algn="l">
              <a:lnSpc>
                <a:spcPts val="2340"/>
              </a:lnSpc>
              <a:spcBef>
                <a:spcPts val="0"/>
              </a:spcBef>
              <a:spcAft>
                <a:spcPts val="0"/>
              </a:spcAft>
              <a:buNone/>
              <a:defRPr sz="1425" b="0" i="0" cap="none" spc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8BA9991-E50E-8965-C781-50935FCA9F5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7413" y="5699303"/>
            <a:ext cx="1760018" cy="419052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AA4AD52-FE9E-9AA0-830D-340E2BDD92F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29631"/>
            <a:ext cx="12192000" cy="3285067"/>
          </a:xfrm>
          <a:custGeom>
            <a:avLst/>
            <a:gdLst>
              <a:gd name="connsiteX0" fmla="*/ 2021205 w 12192000"/>
              <a:gd name="connsiteY0" fmla="*/ 40 h 3285067"/>
              <a:gd name="connsiteX1" fmla="*/ 12192000 w 12192000"/>
              <a:gd name="connsiteY1" fmla="*/ 40 h 3285067"/>
              <a:gd name="connsiteX2" fmla="*/ 12192000 w 12192000"/>
              <a:gd name="connsiteY2" fmla="*/ 3285067 h 3285067"/>
              <a:gd name="connsiteX3" fmla="*/ 0 w 12192000"/>
              <a:gd name="connsiteY3" fmla="*/ 3285067 h 3285067"/>
              <a:gd name="connsiteX4" fmla="*/ 0 w 12192000"/>
              <a:gd name="connsiteY4" fmla="*/ 1506224 h 3285067"/>
              <a:gd name="connsiteX5" fmla="*/ 847090 w 12192000"/>
              <a:gd name="connsiteY5" fmla="*/ 409722 h 3285067"/>
              <a:gd name="connsiteX6" fmla="*/ 2021205 w 12192000"/>
              <a:gd name="connsiteY6" fmla="*/ 40 h 3285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285067">
                <a:moveTo>
                  <a:pt x="2021205" y="40"/>
                </a:moveTo>
                <a:lnTo>
                  <a:pt x="12192000" y="40"/>
                </a:lnTo>
                <a:lnTo>
                  <a:pt x="12192000" y="3285067"/>
                </a:lnTo>
                <a:lnTo>
                  <a:pt x="0" y="3285067"/>
                </a:lnTo>
                <a:lnTo>
                  <a:pt x="0" y="1506224"/>
                </a:lnTo>
                <a:cubicBezTo>
                  <a:pt x="203835" y="1107957"/>
                  <a:pt x="462280" y="699543"/>
                  <a:pt x="847090" y="409722"/>
                </a:cubicBezTo>
                <a:cubicBezTo>
                  <a:pt x="1038225" y="266397"/>
                  <a:pt x="1391920" y="-3765"/>
                  <a:pt x="2021205" y="4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6EACD3-F187-6FA0-E9DB-FCA114A2796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046796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tream_alt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570AD9-F776-9BD3-F569-E65C4607FC60}"/>
              </a:ext>
            </a:extLst>
          </p:cNvPr>
          <p:cNvSpPr/>
          <p:nvPr userDrawn="1"/>
        </p:nvSpPr>
        <p:spPr>
          <a:xfrm>
            <a:off x="3277590" y="219808"/>
            <a:ext cx="997527" cy="603504"/>
          </a:xfrm>
          <a:prstGeom prst="rect">
            <a:avLst/>
          </a:prstGeom>
          <a:solidFill>
            <a:schemeClr val="bg1">
              <a:alpha val="50000"/>
            </a:schemeClr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1C332D2-1F4E-F48E-13A6-799362D72D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7285" y="5833872"/>
            <a:ext cx="8193024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D2CF81CD-DD46-EA79-7BCD-7356762AFF9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7286" y="1574800"/>
            <a:ext cx="10647363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6C4BF043-2D21-E606-9266-D4F265644A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8543398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 lang="en-NL"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0501656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0" y="2788643"/>
            <a:ext cx="11184565" cy="61555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81613" name="Rectangle 13"/>
          <p:cNvSpPr>
            <a:spLocks noGrp="1" noChangeArrowheads="1"/>
          </p:cNvSpPr>
          <p:nvPr>
            <p:ph type="ctrTitle"/>
          </p:nvPr>
        </p:nvSpPr>
        <p:spPr>
          <a:xfrm>
            <a:off x="528000" y="2241549"/>
            <a:ext cx="10822517" cy="1709739"/>
          </a:xfrm>
        </p:spPr>
        <p:txBody>
          <a:bodyPr anchor="ctr"/>
          <a:lstStyle>
            <a:lvl1pPr>
              <a:spcBef>
                <a:spcPct val="20000"/>
              </a:spcBef>
              <a:defRPr sz="37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1614" name="Rectangle 14"/>
          <p:cNvSpPr>
            <a:spLocks noGrp="1" noChangeArrowheads="1"/>
          </p:cNvSpPr>
          <p:nvPr>
            <p:ph type="subTitle" idx="1"/>
          </p:nvPr>
        </p:nvSpPr>
        <p:spPr>
          <a:xfrm>
            <a:off x="528000" y="4570415"/>
            <a:ext cx="10822517" cy="1054100"/>
          </a:xfrm>
          <a:ln/>
        </p:spPr>
        <p:txBody>
          <a:bodyPr/>
          <a:lstStyle>
            <a:lvl1pPr marL="0" indent="0">
              <a:lnSpc>
                <a:spcPct val="115000"/>
              </a:lnSpc>
              <a:spcBef>
                <a:spcPct val="35000"/>
              </a:spcBef>
              <a:buFontTx/>
              <a:buNone/>
              <a:defRPr sz="20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11327904" y="2788643"/>
            <a:ext cx="864096" cy="615553"/>
          </a:xfrm>
          <a:prstGeom prst="rect">
            <a:avLst/>
          </a:prstGeom>
          <a:solidFill>
            <a:schemeClr val="accent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F9A62A8-3175-4EB1-A6AE-CF8F8E0390A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0355" y="802110"/>
            <a:ext cx="2451612" cy="698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820684"/>
      </p:ext>
    </p:extLst>
  </p:cSld>
  <p:clrMapOvr>
    <a:masterClrMapping/>
  </p:clrMapOvr>
  <p:transition>
    <p:wipe dir="r"/>
  </p:transition>
  <p:hf hdr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Section Slide">
    <p:bg>
      <p:bgPr>
        <a:solidFill>
          <a:schemeClr val="accent1">
            <a:alpha val="2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auto">
          <a:xfrm>
            <a:off x="0" y="2062458"/>
            <a:ext cx="9232592" cy="205973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9344484" y="2062458"/>
            <a:ext cx="1632181" cy="2059735"/>
          </a:xfrm>
          <a:prstGeom prst="rect">
            <a:avLst/>
          </a:prstGeom>
          <a:solidFill>
            <a:schemeClr val="accent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81613" name="Rectangle 13"/>
          <p:cNvSpPr>
            <a:spLocks noGrp="1" noChangeArrowheads="1"/>
          </p:cNvSpPr>
          <p:nvPr>
            <p:ph type="ctrTitle"/>
          </p:nvPr>
        </p:nvSpPr>
        <p:spPr>
          <a:xfrm>
            <a:off x="143339" y="2062457"/>
            <a:ext cx="8928992" cy="2059735"/>
          </a:xfrm>
          <a:noFill/>
          <a:ln>
            <a:noFill/>
          </a:ln>
        </p:spPr>
        <p:txBody>
          <a:bodyPr anchor="ctr"/>
          <a:lstStyle>
            <a:lvl1pPr>
              <a:spcBef>
                <a:spcPct val="20000"/>
              </a:spcBef>
              <a:defRPr sz="32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1614" name="Rectangle 14"/>
          <p:cNvSpPr>
            <a:spLocks noGrp="1" noChangeArrowheads="1"/>
          </p:cNvSpPr>
          <p:nvPr>
            <p:ph type="subTitle" idx="1"/>
          </p:nvPr>
        </p:nvSpPr>
        <p:spPr>
          <a:xfrm>
            <a:off x="142436" y="4570415"/>
            <a:ext cx="10822517" cy="1054100"/>
          </a:xfrm>
          <a:ln/>
        </p:spPr>
        <p:txBody>
          <a:bodyPr/>
          <a:lstStyle>
            <a:lvl1pPr marL="0" indent="0">
              <a:lnSpc>
                <a:spcPct val="115000"/>
              </a:lnSpc>
              <a:spcBef>
                <a:spcPct val="35000"/>
              </a:spcBef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81634" name="Picture 34" descr="AmgenTaglineBlue CMYK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7443315" y="704679"/>
            <a:ext cx="4301765" cy="791736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 bwMode="auto">
          <a:xfrm>
            <a:off x="11088556" y="2062459"/>
            <a:ext cx="1103445" cy="2059735"/>
          </a:xfrm>
          <a:prstGeom prst="rect">
            <a:avLst/>
          </a:prstGeom>
          <a:solidFill>
            <a:schemeClr val="accent1">
              <a:alpha val="1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8099497"/>
      </p:ext>
    </p:extLst>
  </p:cSld>
  <p:clrMapOvr>
    <a:masterClrMapping/>
  </p:clrMapOvr>
  <p:transition>
    <p:wipe dir="r"/>
  </p:transition>
  <p:hf hdr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000" y="3"/>
            <a:ext cx="11203200" cy="1109663"/>
          </a:xfrm>
        </p:spPr>
        <p:txBody>
          <a:bodyPr lIns="9000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8000" y="1316765"/>
            <a:ext cx="11232200" cy="4626835"/>
          </a:xfrm>
        </p:spPr>
        <p:txBody>
          <a:bodyPr/>
          <a:lstStyle>
            <a:lvl2pPr marL="838158" indent="-380981">
              <a:buFont typeface="Arial" panose="020B0604020202020204" pitchFamily="34" charset="0"/>
              <a:buChar char="•"/>
              <a:defRPr sz="2133"/>
            </a:lvl2pPr>
            <a:lvl3pPr marL="1295336" indent="-380981">
              <a:buFont typeface="Arial" panose="020B0604020202020204" pitchFamily="34" charset="0"/>
              <a:buChar char="-"/>
              <a:defRPr sz="1867"/>
            </a:lvl3pPr>
            <a:lvl4pPr>
              <a:defRPr sz="1600"/>
            </a:lvl4pPr>
            <a:lvl5pPr marL="2057298" indent="-228589">
              <a:buFont typeface="Courier New" panose="02070309020205020404" pitchFamily="49" charset="0"/>
              <a:buChar char="o"/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35C92DD1-145E-4371-A67D-7751A33134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320" y="6358827"/>
            <a:ext cx="10040176" cy="238527"/>
          </a:xfrm>
        </p:spPr>
        <p:txBody>
          <a:bodyPr wrap="square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s </a:t>
            </a:r>
          </a:p>
        </p:txBody>
      </p:sp>
    </p:spTree>
    <p:extLst>
      <p:ext uri="{BB962C8B-B14F-4D97-AF65-F5344CB8AC3E}">
        <p14:creationId xmlns:p14="http://schemas.microsoft.com/office/powerpoint/2010/main" val="3988930281"/>
      </p:ext>
    </p:extLst>
  </p:cSld>
  <p:clrMapOvr>
    <a:masterClrMapping/>
  </p:clrMapOvr>
  <p:transition>
    <p:wipe dir="r"/>
  </p:transition>
  <p:hf hdr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4B594010-BCE0-40C7-B9F4-870BCA6113F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320" y="6358827"/>
            <a:ext cx="10040176" cy="238527"/>
          </a:xfrm>
        </p:spPr>
        <p:txBody>
          <a:bodyPr wrap="square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References </a:t>
            </a:r>
          </a:p>
        </p:txBody>
      </p:sp>
      <p:sp>
        <p:nvSpPr>
          <p:cNvPr id="5" name="Action Button: Go Home 4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456B1AD0-70B0-4DAF-8457-2A7CBE7C5897}"/>
              </a:ext>
            </a:extLst>
          </p:cNvPr>
          <p:cNvSpPr/>
          <p:nvPr userDrawn="1"/>
        </p:nvSpPr>
        <p:spPr bwMode="auto">
          <a:xfrm>
            <a:off x="11779250" y="0"/>
            <a:ext cx="412750" cy="412750"/>
          </a:xfrm>
          <a:prstGeom prst="actionButtonHom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6527083"/>
      </p:ext>
    </p:extLst>
  </p:cSld>
  <p:clrMapOvr>
    <a:masterClrMapping/>
  </p:clrMapOvr>
  <p:transition>
    <p:wipe dir="r"/>
  </p:transition>
  <p:hf hdr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1842133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537052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1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DD3ADD7-6C65-C7B6-F5A3-C8D149E7BE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2401" y="5598870"/>
            <a:ext cx="8997028" cy="427008"/>
          </a:xfrm>
        </p:spPr>
        <p:txBody>
          <a:bodyPr tIns="0"/>
          <a:lstStyle>
            <a:lvl1pPr marL="0" indent="0" algn="l">
              <a:lnSpc>
                <a:spcPts val="2340"/>
              </a:lnSpc>
              <a:spcBef>
                <a:spcPts val="0"/>
              </a:spcBef>
              <a:spcAft>
                <a:spcPts val="0"/>
              </a:spcAft>
              <a:buNone/>
              <a:defRPr sz="1900" b="1" i="0" cap="none" spc="0" baseline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56A9473-9444-A1F0-5B86-11A3C05F69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2401" y="4685665"/>
            <a:ext cx="8997024" cy="685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200"/>
              </a:lnSpc>
              <a:defRPr sz="3800" b="1" i="0" cap="none" spc="0" baseline="0">
                <a:solidFill>
                  <a:schemeClr val="accent1"/>
                </a:solidFill>
                <a:effectLst/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2982034D-4664-2E5A-69EB-08390D23957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2401" y="5887534"/>
            <a:ext cx="8997028" cy="427008"/>
          </a:xfrm>
        </p:spPr>
        <p:txBody>
          <a:bodyPr tIns="0"/>
          <a:lstStyle>
            <a:lvl1pPr marL="0" indent="0" algn="l">
              <a:lnSpc>
                <a:spcPts val="2340"/>
              </a:lnSpc>
              <a:spcBef>
                <a:spcPts val="0"/>
              </a:spcBef>
              <a:spcAft>
                <a:spcPts val="0"/>
              </a:spcAft>
              <a:buNone/>
              <a:defRPr sz="1425" b="0" i="0" cap="none" spc="0" baseline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4E5C274-2D42-403C-473A-770A4C7681C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29631"/>
            <a:ext cx="12192000" cy="3285067"/>
          </a:xfrm>
          <a:custGeom>
            <a:avLst/>
            <a:gdLst>
              <a:gd name="connsiteX0" fmla="*/ 2021205 w 12192000"/>
              <a:gd name="connsiteY0" fmla="*/ 40 h 3285067"/>
              <a:gd name="connsiteX1" fmla="*/ 12192000 w 12192000"/>
              <a:gd name="connsiteY1" fmla="*/ 40 h 3285067"/>
              <a:gd name="connsiteX2" fmla="*/ 12192000 w 12192000"/>
              <a:gd name="connsiteY2" fmla="*/ 3285067 h 3285067"/>
              <a:gd name="connsiteX3" fmla="*/ 0 w 12192000"/>
              <a:gd name="connsiteY3" fmla="*/ 3285067 h 3285067"/>
              <a:gd name="connsiteX4" fmla="*/ 0 w 12192000"/>
              <a:gd name="connsiteY4" fmla="*/ 1506224 h 3285067"/>
              <a:gd name="connsiteX5" fmla="*/ 847090 w 12192000"/>
              <a:gd name="connsiteY5" fmla="*/ 409722 h 3285067"/>
              <a:gd name="connsiteX6" fmla="*/ 2021205 w 12192000"/>
              <a:gd name="connsiteY6" fmla="*/ 40 h 3285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285067">
                <a:moveTo>
                  <a:pt x="2021205" y="40"/>
                </a:moveTo>
                <a:lnTo>
                  <a:pt x="12192000" y="40"/>
                </a:lnTo>
                <a:lnTo>
                  <a:pt x="12192000" y="3285067"/>
                </a:lnTo>
                <a:lnTo>
                  <a:pt x="0" y="3285067"/>
                </a:lnTo>
                <a:lnTo>
                  <a:pt x="0" y="1506224"/>
                </a:lnTo>
                <a:cubicBezTo>
                  <a:pt x="203835" y="1107957"/>
                  <a:pt x="462280" y="699543"/>
                  <a:pt x="847090" y="409722"/>
                </a:cubicBezTo>
                <a:cubicBezTo>
                  <a:pt x="1038225" y="266397"/>
                  <a:pt x="1391920" y="-3765"/>
                  <a:pt x="2021205" y="4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A1C1D5B-0DAB-DA38-12BB-A3F36F8A11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7413" y="5699303"/>
            <a:ext cx="1760018" cy="419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92132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2_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D97F866D-C535-8B25-290D-B9A16BD990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2401" y="2711764"/>
            <a:ext cx="8997028" cy="427008"/>
          </a:xfrm>
        </p:spPr>
        <p:txBody>
          <a:bodyPr tIns="0"/>
          <a:lstStyle>
            <a:lvl1pPr marL="0" indent="0" algn="l">
              <a:lnSpc>
                <a:spcPts val="2340"/>
              </a:lnSpc>
              <a:spcBef>
                <a:spcPts val="0"/>
              </a:spcBef>
              <a:spcAft>
                <a:spcPts val="0"/>
              </a:spcAft>
              <a:buNone/>
              <a:defRPr sz="1900" b="1" i="0" cap="none" spc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B73E3BC-9FC7-7368-4543-7697BFB3D5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2401" y="1798559"/>
            <a:ext cx="8997024" cy="685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200"/>
              </a:lnSpc>
              <a:defRPr sz="3800" b="1" i="0" cap="none" spc="0" baseline="0">
                <a:solidFill>
                  <a:schemeClr val="bg1"/>
                </a:solidFill>
                <a:effectLst/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0C83F00A-0D83-4373-E33A-CF63E5680A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2401" y="3000428"/>
            <a:ext cx="8997028" cy="427008"/>
          </a:xfrm>
        </p:spPr>
        <p:txBody>
          <a:bodyPr tIns="0"/>
          <a:lstStyle>
            <a:lvl1pPr marL="0" indent="0" algn="l">
              <a:lnSpc>
                <a:spcPts val="2340"/>
              </a:lnSpc>
              <a:spcBef>
                <a:spcPts val="0"/>
              </a:spcBef>
              <a:spcAft>
                <a:spcPts val="0"/>
              </a:spcAft>
              <a:buNone/>
              <a:defRPr sz="1425" b="0" i="0" cap="none" spc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4D27B2B-D576-D71C-59A8-B9F113604B3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636403"/>
            <a:ext cx="12192000" cy="2876162"/>
          </a:xfrm>
          <a:custGeom>
            <a:avLst/>
            <a:gdLst>
              <a:gd name="connsiteX0" fmla="*/ 1781810 w 12192000"/>
              <a:gd name="connsiteY0" fmla="*/ 31 h 2876162"/>
              <a:gd name="connsiteX1" fmla="*/ 12192000 w 12192000"/>
              <a:gd name="connsiteY1" fmla="*/ 31 h 2876162"/>
              <a:gd name="connsiteX2" fmla="*/ 12192000 w 12192000"/>
              <a:gd name="connsiteY2" fmla="*/ 2876162 h 2876162"/>
              <a:gd name="connsiteX3" fmla="*/ 0 w 12192000"/>
              <a:gd name="connsiteY3" fmla="*/ 2876162 h 2876162"/>
              <a:gd name="connsiteX4" fmla="*/ 0 w 12192000"/>
              <a:gd name="connsiteY4" fmla="*/ 1342353 h 2876162"/>
              <a:gd name="connsiteX5" fmla="*/ 753745 w 12192000"/>
              <a:gd name="connsiteY5" fmla="*/ 358915 h 2876162"/>
              <a:gd name="connsiteX6" fmla="*/ 1781810 w 12192000"/>
              <a:gd name="connsiteY6" fmla="*/ 31 h 2876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2876162">
                <a:moveTo>
                  <a:pt x="1781810" y="31"/>
                </a:moveTo>
                <a:lnTo>
                  <a:pt x="12192000" y="31"/>
                </a:lnTo>
                <a:lnTo>
                  <a:pt x="12192000" y="2876162"/>
                </a:lnTo>
                <a:lnTo>
                  <a:pt x="0" y="2876162"/>
                </a:lnTo>
                <a:lnTo>
                  <a:pt x="0" y="1342353"/>
                </a:lnTo>
                <a:cubicBezTo>
                  <a:pt x="180341" y="986007"/>
                  <a:pt x="408940" y="618248"/>
                  <a:pt x="753745" y="358915"/>
                </a:cubicBezTo>
                <a:cubicBezTo>
                  <a:pt x="921385" y="232734"/>
                  <a:pt x="1231265" y="-3139"/>
                  <a:pt x="1781810" y="31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298945A5-9CA2-F0C7-7DFE-454036D91D7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7413" y="2816776"/>
            <a:ext cx="1760018" cy="419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1879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2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5BE11003-33E3-C602-1590-A0E78DE24A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2401" y="2711764"/>
            <a:ext cx="8997028" cy="427008"/>
          </a:xfrm>
        </p:spPr>
        <p:txBody>
          <a:bodyPr tIns="0"/>
          <a:lstStyle>
            <a:lvl1pPr marL="0" indent="0" algn="l">
              <a:lnSpc>
                <a:spcPts val="2340"/>
              </a:lnSpc>
              <a:spcBef>
                <a:spcPts val="0"/>
              </a:spcBef>
              <a:spcAft>
                <a:spcPts val="0"/>
              </a:spcAft>
              <a:buNone/>
              <a:defRPr sz="1900" b="1" i="0" cap="none" spc="0" baseline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A5EE928-3886-45B3-67DE-39C5D24FA5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2401" y="1798559"/>
            <a:ext cx="8997024" cy="685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200"/>
              </a:lnSpc>
              <a:defRPr sz="3800" b="1" i="0" cap="none" spc="0" baseline="0">
                <a:solidFill>
                  <a:schemeClr val="accent1"/>
                </a:solidFill>
                <a:effectLst/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D5E1E0F3-8278-99F7-3887-286AEFCDD3F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2401" y="3000428"/>
            <a:ext cx="8997028" cy="427008"/>
          </a:xfrm>
        </p:spPr>
        <p:txBody>
          <a:bodyPr tIns="0"/>
          <a:lstStyle>
            <a:lvl1pPr marL="0" indent="0" algn="l">
              <a:lnSpc>
                <a:spcPts val="2340"/>
              </a:lnSpc>
              <a:spcBef>
                <a:spcPts val="0"/>
              </a:spcBef>
              <a:spcAft>
                <a:spcPts val="0"/>
              </a:spcAft>
              <a:buNone/>
              <a:defRPr sz="1425" b="0" i="0" cap="none" spc="0" baseline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93F56E97-E395-3C7D-D75B-6CBEFC99442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636403"/>
            <a:ext cx="12192000" cy="2876162"/>
          </a:xfrm>
          <a:custGeom>
            <a:avLst/>
            <a:gdLst>
              <a:gd name="connsiteX0" fmla="*/ 1781810 w 12192000"/>
              <a:gd name="connsiteY0" fmla="*/ 31 h 2876162"/>
              <a:gd name="connsiteX1" fmla="*/ 12192000 w 12192000"/>
              <a:gd name="connsiteY1" fmla="*/ 31 h 2876162"/>
              <a:gd name="connsiteX2" fmla="*/ 12192000 w 12192000"/>
              <a:gd name="connsiteY2" fmla="*/ 2876162 h 2876162"/>
              <a:gd name="connsiteX3" fmla="*/ 0 w 12192000"/>
              <a:gd name="connsiteY3" fmla="*/ 2876162 h 2876162"/>
              <a:gd name="connsiteX4" fmla="*/ 0 w 12192000"/>
              <a:gd name="connsiteY4" fmla="*/ 1342353 h 2876162"/>
              <a:gd name="connsiteX5" fmla="*/ 753745 w 12192000"/>
              <a:gd name="connsiteY5" fmla="*/ 358915 h 2876162"/>
              <a:gd name="connsiteX6" fmla="*/ 1781810 w 12192000"/>
              <a:gd name="connsiteY6" fmla="*/ 31 h 2876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2876162">
                <a:moveTo>
                  <a:pt x="1781810" y="31"/>
                </a:moveTo>
                <a:lnTo>
                  <a:pt x="12192000" y="31"/>
                </a:lnTo>
                <a:lnTo>
                  <a:pt x="12192000" y="2876162"/>
                </a:lnTo>
                <a:lnTo>
                  <a:pt x="0" y="2876162"/>
                </a:lnTo>
                <a:lnTo>
                  <a:pt x="0" y="1342353"/>
                </a:lnTo>
                <a:cubicBezTo>
                  <a:pt x="180341" y="986007"/>
                  <a:pt x="408940" y="618248"/>
                  <a:pt x="753745" y="358915"/>
                </a:cubicBezTo>
                <a:cubicBezTo>
                  <a:pt x="921385" y="232734"/>
                  <a:pt x="1231265" y="-3139"/>
                  <a:pt x="1781810" y="31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CC6EE47-8032-AF6F-FABF-6E7F10DE4B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7413" y="2816776"/>
            <a:ext cx="1760018" cy="419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18598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26" Type="http://schemas.openxmlformats.org/officeDocument/2006/relationships/slideLayout" Target="../slideLayouts/slideLayout31.xml"/><Relationship Id="rId39" Type="http://schemas.openxmlformats.org/officeDocument/2006/relationships/slideLayout" Target="../slideLayouts/slideLayout44.xml"/><Relationship Id="rId21" Type="http://schemas.openxmlformats.org/officeDocument/2006/relationships/slideLayout" Target="../slideLayouts/slideLayout26.xml"/><Relationship Id="rId34" Type="http://schemas.openxmlformats.org/officeDocument/2006/relationships/slideLayout" Target="../slideLayouts/slideLayout39.xml"/><Relationship Id="rId42" Type="http://schemas.openxmlformats.org/officeDocument/2006/relationships/slideLayout" Target="../slideLayouts/slideLayout47.xml"/><Relationship Id="rId47" Type="http://schemas.openxmlformats.org/officeDocument/2006/relationships/slideLayout" Target="../slideLayouts/slideLayout52.xml"/><Relationship Id="rId50" Type="http://schemas.openxmlformats.org/officeDocument/2006/relationships/slideLayout" Target="../slideLayouts/slideLayout55.xml"/><Relationship Id="rId55" Type="http://schemas.openxmlformats.org/officeDocument/2006/relationships/slideLayout" Target="../slideLayouts/slideLayout60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5.xml"/><Relationship Id="rId29" Type="http://schemas.openxmlformats.org/officeDocument/2006/relationships/slideLayout" Target="../slideLayouts/slideLayout34.xml"/><Relationship Id="rId41" Type="http://schemas.openxmlformats.org/officeDocument/2006/relationships/slideLayout" Target="../slideLayouts/slideLayout46.xml"/><Relationship Id="rId54" Type="http://schemas.openxmlformats.org/officeDocument/2006/relationships/slideLayout" Target="../slideLayouts/slideLayout59.xml"/><Relationship Id="rId62" Type="http://schemas.openxmlformats.org/officeDocument/2006/relationships/image" Target="../media/image18.svg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24" Type="http://schemas.openxmlformats.org/officeDocument/2006/relationships/slideLayout" Target="../slideLayouts/slideLayout29.xml"/><Relationship Id="rId32" Type="http://schemas.openxmlformats.org/officeDocument/2006/relationships/slideLayout" Target="../slideLayouts/slideLayout37.xml"/><Relationship Id="rId37" Type="http://schemas.openxmlformats.org/officeDocument/2006/relationships/slideLayout" Target="../slideLayouts/slideLayout42.xml"/><Relationship Id="rId40" Type="http://schemas.openxmlformats.org/officeDocument/2006/relationships/slideLayout" Target="../slideLayouts/slideLayout45.xml"/><Relationship Id="rId45" Type="http://schemas.openxmlformats.org/officeDocument/2006/relationships/slideLayout" Target="../slideLayouts/slideLayout50.xml"/><Relationship Id="rId53" Type="http://schemas.openxmlformats.org/officeDocument/2006/relationships/slideLayout" Target="../slideLayouts/slideLayout58.xml"/><Relationship Id="rId58" Type="http://schemas.openxmlformats.org/officeDocument/2006/relationships/tags" Target="../tags/tag1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slideLayout" Target="../slideLayouts/slideLayout28.xml"/><Relationship Id="rId28" Type="http://schemas.openxmlformats.org/officeDocument/2006/relationships/slideLayout" Target="../slideLayouts/slideLayout33.xml"/><Relationship Id="rId36" Type="http://schemas.openxmlformats.org/officeDocument/2006/relationships/slideLayout" Target="../slideLayouts/slideLayout41.xml"/><Relationship Id="rId49" Type="http://schemas.openxmlformats.org/officeDocument/2006/relationships/slideLayout" Target="../slideLayouts/slideLayout54.xml"/><Relationship Id="rId57" Type="http://schemas.openxmlformats.org/officeDocument/2006/relationships/theme" Target="../theme/theme2.xml"/><Relationship Id="rId61" Type="http://schemas.openxmlformats.org/officeDocument/2006/relationships/image" Target="../media/image17.png"/><Relationship Id="rId10" Type="http://schemas.openxmlformats.org/officeDocument/2006/relationships/slideLayout" Target="../slideLayouts/slideLayout15.xml"/><Relationship Id="rId19" Type="http://schemas.openxmlformats.org/officeDocument/2006/relationships/slideLayout" Target="../slideLayouts/slideLayout24.xml"/><Relationship Id="rId31" Type="http://schemas.openxmlformats.org/officeDocument/2006/relationships/slideLayout" Target="../slideLayouts/slideLayout36.xml"/><Relationship Id="rId44" Type="http://schemas.openxmlformats.org/officeDocument/2006/relationships/slideLayout" Target="../slideLayouts/slideLayout49.xml"/><Relationship Id="rId52" Type="http://schemas.openxmlformats.org/officeDocument/2006/relationships/slideLayout" Target="../slideLayouts/slideLayout57.xml"/><Relationship Id="rId60" Type="http://schemas.openxmlformats.org/officeDocument/2006/relationships/image" Target="../media/image16.emf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slideLayout" Target="../slideLayouts/slideLayout27.xml"/><Relationship Id="rId27" Type="http://schemas.openxmlformats.org/officeDocument/2006/relationships/slideLayout" Target="../slideLayouts/slideLayout32.xml"/><Relationship Id="rId30" Type="http://schemas.openxmlformats.org/officeDocument/2006/relationships/slideLayout" Target="../slideLayouts/slideLayout35.xml"/><Relationship Id="rId35" Type="http://schemas.openxmlformats.org/officeDocument/2006/relationships/slideLayout" Target="../slideLayouts/slideLayout40.xml"/><Relationship Id="rId43" Type="http://schemas.openxmlformats.org/officeDocument/2006/relationships/slideLayout" Target="../slideLayouts/slideLayout48.xml"/><Relationship Id="rId48" Type="http://schemas.openxmlformats.org/officeDocument/2006/relationships/slideLayout" Target="../slideLayouts/slideLayout53.xml"/><Relationship Id="rId56" Type="http://schemas.openxmlformats.org/officeDocument/2006/relationships/slideLayout" Target="../slideLayouts/slideLayout61.xml"/><Relationship Id="rId8" Type="http://schemas.openxmlformats.org/officeDocument/2006/relationships/slideLayout" Target="../slideLayouts/slideLayout13.xml"/><Relationship Id="rId51" Type="http://schemas.openxmlformats.org/officeDocument/2006/relationships/slideLayout" Target="../slideLayouts/slideLayout56.xml"/><Relationship Id="rId3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5" Type="http://schemas.openxmlformats.org/officeDocument/2006/relationships/slideLayout" Target="../slideLayouts/slideLayout30.xml"/><Relationship Id="rId33" Type="http://schemas.openxmlformats.org/officeDocument/2006/relationships/slideLayout" Target="../slideLayouts/slideLayout38.xml"/><Relationship Id="rId38" Type="http://schemas.openxmlformats.org/officeDocument/2006/relationships/slideLayout" Target="../slideLayouts/slideLayout43.xml"/><Relationship Id="rId46" Type="http://schemas.openxmlformats.org/officeDocument/2006/relationships/slideLayout" Target="../slideLayouts/slideLayout51.xml"/><Relationship Id="rId59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8311" y="1530474"/>
            <a:ext cx="3930015" cy="1092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0" i="0">
                <a:solidFill>
                  <a:srgbClr val="58595B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064358" y="2380456"/>
            <a:ext cx="6063282" cy="20561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000" b="1" i="0">
                <a:solidFill>
                  <a:srgbClr val="FFC20E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024-05-1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50541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04C7E17-E761-2692-C514-86595ADD47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8"/>
            </p:custDataLst>
            <p:extLst>
              <p:ext uri="{D42A27DB-BD31-4B8C-83A1-F6EECF244321}">
                <p14:modId xmlns:p14="http://schemas.microsoft.com/office/powerpoint/2010/main" val="4226693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9" imgW="278" imgH="278" progId="TCLayout.ActiveDocument.1">
                  <p:embed/>
                </p:oleObj>
              </mc:Choice>
              <mc:Fallback>
                <p:oleObj name="think-cell Slide" r:id="rId59" imgW="278" imgH="27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4C7E17-E761-2692-C514-86595ADD47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CD0E37A5-329C-6B42-A03C-2BAEC2052D29}"/>
              </a:ext>
            </a:extLst>
          </p:cNvPr>
          <p:cNvSpPr>
            <a:spLocks noGrp="1" noChangeArrowheads="1"/>
          </p:cNvSpPr>
          <p:nvPr/>
        </p:nvSpPr>
        <p:spPr bwMode="gray">
          <a:xfrm>
            <a:off x="365126" y="6332043"/>
            <a:ext cx="409575" cy="2083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 defTabSz="775867" eaLnBrk="1" hangingPunct="1">
              <a:defRPr/>
            </a:pPr>
            <a:fld id="{3DBC93D6-C358-9648-9CB7-FB101C9037AB}" type="slidenum">
              <a:rPr lang="en-US" sz="800" smtClean="0">
                <a:solidFill>
                  <a:schemeClr val="bg1">
                    <a:lumMod val="65000"/>
                  </a:schemeClr>
                </a:solidFill>
                <a:latin typeface="Century Gothic" panose="020B0502020202020204" pitchFamily="34" charset="0"/>
              </a:rPr>
              <a:pPr algn="l" defTabSz="775867" eaLnBrk="1" hangingPunct="1">
                <a:defRPr/>
              </a:pPr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9DFE426-7321-534C-8485-5B1BB1E2CD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126" y="1574800"/>
            <a:ext cx="11461748" cy="41374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B2BC6372-ED2A-7044-A75D-F358185E43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365759"/>
            <a:ext cx="11461748" cy="4663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EF68FE0-EE9F-E934-8F3D-7FD1120CA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5126" y="5833872"/>
            <a:ext cx="8188324" cy="49377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marL="0" indent="0" algn="l">
              <a:tabLst/>
              <a:defRPr sz="900" b="0" i="1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D654A0DC-99E9-C6F3-5DB6-E45C9168588B}"/>
              </a:ext>
            </a:extLst>
          </p:cNvPr>
          <p:cNvPicPr>
            <a:picLocks noChangeAspect="1"/>
          </p:cNvPicPr>
          <p:nvPr userDrawn="1"/>
        </p:nvPicPr>
        <p:blipFill>
          <a:blip r:embed="rId6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  <p:sp>
        <p:nvSpPr>
          <p:cNvPr id="3" name="Text Box 5">
            <a:extLst>
              <a:ext uri="{FF2B5EF4-FFF2-40B4-BE49-F238E27FC236}">
                <a16:creationId xmlns:a16="http://schemas.microsoft.com/office/drawing/2014/main" id="{7B46FC4E-62A3-9D43-DF8C-87112867AB9F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274628" y="6550227"/>
            <a:ext cx="2042547" cy="307777"/>
          </a:xfrm>
          <a:prstGeom prst="rect">
            <a:avLst/>
          </a:prstGeom>
          <a:noFill/>
          <a:ln w="76200" algn="ctr">
            <a:noFill/>
            <a:miter lim="800000"/>
            <a:headEnd/>
            <a:tailEnd/>
          </a:ln>
        </p:spPr>
        <p:txBody>
          <a:bodyPr wrap="none" lIns="91440" tIns="91440" rIns="91440" bIns="91440" anchor="b">
            <a:spAutoFit/>
          </a:bodyPr>
          <a:lstStyle/>
          <a:p>
            <a:pPr>
              <a:tabLst>
                <a:tab pos="4572000" algn="ctr"/>
                <a:tab pos="8964613" algn="r"/>
              </a:tabLst>
              <a:defRPr/>
            </a:pPr>
            <a:r>
              <a:rPr lang="en-US" sz="800" dirty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© 2023 Amgen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48092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  <p:sldLayoutId id="2147483682" r:id="rId16"/>
    <p:sldLayoutId id="2147483683" r:id="rId17"/>
    <p:sldLayoutId id="2147483684" r:id="rId18"/>
    <p:sldLayoutId id="2147483685" r:id="rId19"/>
    <p:sldLayoutId id="2147483686" r:id="rId20"/>
    <p:sldLayoutId id="2147483687" r:id="rId21"/>
    <p:sldLayoutId id="2147483688" r:id="rId22"/>
    <p:sldLayoutId id="2147483689" r:id="rId23"/>
    <p:sldLayoutId id="2147483690" r:id="rId24"/>
    <p:sldLayoutId id="2147483691" r:id="rId25"/>
    <p:sldLayoutId id="2147483692" r:id="rId26"/>
    <p:sldLayoutId id="2147483693" r:id="rId27"/>
    <p:sldLayoutId id="2147483694" r:id="rId28"/>
    <p:sldLayoutId id="2147483695" r:id="rId29"/>
    <p:sldLayoutId id="2147483696" r:id="rId30"/>
    <p:sldLayoutId id="2147483697" r:id="rId31"/>
    <p:sldLayoutId id="2147483698" r:id="rId32"/>
    <p:sldLayoutId id="2147483699" r:id="rId33"/>
    <p:sldLayoutId id="2147483700" r:id="rId34"/>
    <p:sldLayoutId id="2147483701" r:id="rId35"/>
    <p:sldLayoutId id="2147483702" r:id="rId36"/>
    <p:sldLayoutId id="2147483703" r:id="rId37"/>
    <p:sldLayoutId id="2147483704" r:id="rId38"/>
    <p:sldLayoutId id="2147483705" r:id="rId39"/>
    <p:sldLayoutId id="2147483706" r:id="rId40"/>
    <p:sldLayoutId id="2147483707" r:id="rId41"/>
    <p:sldLayoutId id="2147483708" r:id="rId42"/>
    <p:sldLayoutId id="2147483709" r:id="rId43"/>
    <p:sldLayoutId id="2147483710" r:id="rId44"/>
    <p:sldLayoutId id="2147483711" r:id="rId45"/>
    <p:sldLayoutId id="2147483712" r:id="rId46"/>
    <p:sldLayoutId id="2147483713" r:id="rId47"/>
    <p:sldLayoutId id="2147483714" r:id="rId48"/>
    <p:sldLayoutId id="2147483715" r:id="rId49"/>
    <p:sldLayoutId id="2147483716" r:id="rId50"/>
    <p:sldLayoutId id="2147483717" r:id="rId51"/>
    <p:sldLayoutId id="2147483718" r:id="rId52"/>
    <p:sldLayoutId id="2147483719" r:id="rId53"/>
    <p:sldLayoutId id="2147483720" r:id="rId54"/>
    <p:sldLayoutId id="2147483721" r:id="rId55"/>
    <p:sldLayoutId id="2147483731" r:id="rId56"/>
  </p:sldLayoutIdLst>
  <p:transition>
    <p:fade/>
  </p:transition>
  <p:hf sldNum="0" hdr="0" ftr="0" dt="0"/>
  <p:txStyles>
    <p:titleStyle>
      <a:lvl1pPr algn="l" defTabSz="379337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000" b="1" i="0" kern="1200" cap="none">
          <a:solidFill>
            <a:schemeClr val="accent1"/>
          </a:solidFill>
          <a:latin typeface="Century Gothic" panose="020B0502020202020204" pitchFamily="34" charset="0"/>
          <a:ea typeface="+mj-ea"/>
          <a:cs typeface="+mj-cs"/>
        </a:defRPr>
      </a:lvl1pPr>
      <a:lvl2pPr algn="l" defTabSz="379337" rtl="0" eaLnBrk="1" fontAlgn="base" hangingPunct="1">
        <a:spcBef>
          <a:spcPct val="0"/>
        </a:spcBef>
        <a:spcAft>
          <a:spcPct val="0"/>
        </a:spcAft>
        <a:defRPr sz="3399" b="1">
          <a:solidFill>
            <a:schemeClr val="accent1"/>
          </a:solidFill>
          <a:latin typeface="Calibri" panose="020F0502020204030204" pitchFamily="34" charset="0"/>
        </a:defRPr>
      </a:lvl2pPr>
      <a:lvl3pPr algn="l" defTabSz="379337" rtl="0" eaLnBrk="1" fontAlgn="base" hangingPunct="1">
        <a:spcBef>
          <a:spcPct val="0"/>
        </a:spcBef>
        <a:spcAft>
          <a:spcPct val="0"/>
        </a:spcAft>
        <a:defRPr sz="3399" b="1">
          <a:solidFill>
            <a:schemeClr val="accent1"/>
          </a:solidFill>
          <a:latin typeface="Calibri" panose="020F0502020204030204" pitchFamily="34" charset="0"/>
        </a:defRPr>
      </a:lvl3pPr>
      <a:lvl4pPr algn="l" defTabSz="379337" rtl="0" eaLnBrk="1" fontAlgn="base" hangingPunct="1">
        <a:spcBef>
          <a:spcPct val="0"/>
        </a:spcBef>
        <a:spcAft>
          <a:spcPct val="0"/>
        </a:spcAft>
        <a:defRPr sz="3399" b="1">
          <a:solidFill>
            <a:schemeClr val="accent1"/>
          </a:solidFill>
          <a:latin typeface="Calibri" panose="020F0502020204030204" pitchFamily="34" charset="0"/>
        </a:defRPr>
      </a:lvl4pPr>
      <a:lvl5pPr algn="l" defTabSz="379337" rtl="0" eaLnBrk="1" fontAlgn="base" hangingPunct="1">
        <a:spcBef>
          <a:spcPct val="0"/>
        </a:spcBef>
        <a:spcAft>
          <a:spcPct val="0"/>
        </a:spcAft>
        <a:defRPr sz="3399" b="1">
          <a:solidFill>
            <a:schemeClr val="accent1"/>
          </a:solidFill>
          <a:latin typeface="Calibri" panose="020F0502020204030204" pitchFamily="34" charset="0"/>
        </a:defRPr>
      </a:lvl5pPr>
      <a:lvl6pPr marL="457109" algn="l" defTabSz="379337" rtl="0" eaLnBrk="1" fontAlgn="base" hangingPunct="1">
        <a:spcBef>
          <a:spcPct val="0"/>
        </a:spcBef>
        <a:spcAft>
          <a:spcPct val="0"/>
        </a:spcAft>
        <a:defRPr sz="3399" b="1">
          <a:solidFill>
            <a:schemeClr val="accent1"/>
          </a:solidFill>
          <a:latin typeface="Calibri" panose="020F0502020204030204" pitchFamily="34" charset="0"/>
        </a:defRPr>
      </a:lvl6pPr>
      <a:lvl7pPr marL="914217" algn="l" defTabSz="379337" rtl="0" eaLnBrk="1" fontAlgn="base" hangingPunct="1">
        <a:spcBef>
          <a:spcPct val="0"/>
        </a:spcBef>
        <a:spcAft>
          <a:spcPct val="0"/>
        </a:spcAft>
        <a:defRPr sz="3399" b="1">
          <a:solidFill>
            <a:schemeClr val="accent1"/>
          </a:solidFill>
          <a:latin typeface="Calibri" panose="020F0502020204030204" pitchFamily="34" charset="0"/>
        </a:defRPr>
      </a:lvl7pPr>
      <a:lvl8pPr marL="1371326" algn="l" defTabSz="379337" rtl="0" eaLnBrk="1" fontAlgn="base" hangingPunct="1">
        <a:spcBef>
          <a:spcPct val="0"/>
        </a:spcBef>
        <a:spcAft>
          <a:spcPct val="0"/>
        </a:spcAft>
        <a:defRPr sz="3399" b="1">
          <a:solidFill>
            <a:schemeClr val="accent1"/>
          </a:solidFill>
          <a:latin typeface="Calibri" panose="020F0502020204030204" pitchFamily="34" charset="0"/>
        </a:defRPr>
      </a:lvl8pPr>
      <a:lvl9pPr marL="1828434" algn="l" defTabSz="379337" rtl="0" eaLnBrk="1" fontAlgn="base" hangingPunct="1">
        <a:spcBef>
          <a:spcPct val="0"/>
        </a:spcBef>
        <a:spcAft>
          <a:spcPct val="0"/>
        </a:spcAft>
        <a:defRPr sz="3399" b="1">
          <a:solidFill>
            <a:schemeClr val="accent1"/>
          </a:solidFill>
          <a:latin typeface="Calibri" panose="020F0502020204030204" pitchFamily="34" charset="0"/>
        </a:defRPr>
      </a:lvl9pPr>
    </p:titleStyle>
    <p:bodyStyle>
      <a:lvl1pPr marL="256032" indent="-256032" algn="l" defTabSz="379337" rtl="0" eaLnBrk="1" fontAlgn="base" hangingPunct="1">
        <a:lnSpc>
          <a:spcPct val="100000"/>
        </a:lnSpc>
        <a:spcBef>
          <a:spcPts val="0"/>
        </a:spcBef>
        <a:spcAft>
          <a:spcPts val="100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sz="2000" b="0" kern="1200" spc="10" baseline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547688" indent="-274320" algn="l" defTabSz="379337" rtl="0" eaLnBrk="1" fontAlgn="base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90000"/>
        <a:buFont typeface="Courier New" panose="02070309020205020404" pitchFamily="49" charset="0"/>
        <a:buChar char="o"/>
        <a:tabLst/>
        <a:defRPr sz="1800" b="0" kern="1200" spc="10" baseline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731520" indent="-182880" algn="l" defTabSz="379337" rtl="0" eaLnBrk="1" fontAlgn="base" hangingPunct="1">
        <a:lnSpc>
          <a:spcPct val="100000"/>
        </a:lnSpc>
        <a:spcBef>
          <a:spcPts val="0"/>
        </a:spcBef>
        <a:spcAft>
          <a:spcPts val="200"/>
        </a:spcAft>
        <a:buClr>
          <a:schemeClr val="accent1"/>
        </a:buClr>
        <a:buSzPct val="90000"/>
        <a:buFont typeface="System Font Regular"/>
        <a:buChar char="–"/>
        <a:tabLst/>
        <a:defRPr sz="1600" b="0" kern="1200" spc="10" baseline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914400" indent="-182880" algn="l" defTabSz="379337" rtl="0" eaLnBrk="1" fontAlgn="base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sz="1200" b="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1042416" indent="-128016" algn="l" defTabSz="379337" rtl="0" eaLnBrk="1" fontAlgn="base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80000"/>
        <a:buFont typeface="Courier New" panose="02070309020205020404" pitchFamily="49" charset="0"/>
        <a:buChar char="o"/>
        <a:tabLst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952121" indent="0" algn="l" defTabSz="380848" rtl="0" eaLnBrk="1" latinLnBrk="0" hangingPunct="1">
        <a:lnSpc>
          <a:spcPct val="90000"/>
        </a:lnSpc>
        <a:spcBef>
          <a:spcPts val="208"/>
        </a:spcBef>
        <a:buFont typeface="Arial" panose="020B0604020202020204" pitchFamily="34" charset="0"/>
        <a:buNone/>
        <a:defRPr sz="751" kern="1200">
          <a:solidFill>
            <a:schemeClr val="tx1"/>
          </a:solidFill>
          <a:latin typeface="+mn-lt"/>
          <a:ea typeface="+mn-ea"/>
          <a:cs typeface="+mn-cs"/>
        </a:defRPr>
      </a:lvl6pPr>
      <a:lvl7pPr marL="1237756" indent="-95213" algn="l" defTabSz="380848" rtl="0" eaLnBrk="1" latinLnBrk="0" hangingPunct="1">
        <a:lnSpc>
          <a:spcPct val="90000"/>
        </a:lnSpc>
        <a:spcBef>
          <a:spcPts val="208"/>
        </a:spcBef>
        <a:buFont typeface="Arial" panose="020B0604020202020204" pitchFamily="34" charset="0"/>
        <a:buChar char="•"/>
        <a:defRPr sz="751" kern="1200">
          <a:solidFill>
            <a:schemeClr val="tx1"/>
          </a:solidFill>
          <a:latin typeface="+mn-lt"/>
          <a:ea typeface="+mn-ea"/>
          <a:cs typeface="+mn-cs"/>
        </a:defRPr>
      </a:lvl7pPr>
      <a:lvl8pPr marL="1428181" indent="-95213" algn="l" defTabSz="380848" rtl="0" eaLnBrk="1" latinLnBrk="0" hangingPunct="1">
        <a:lnSpc>
          <a:spcPct val="90000"/>
        </a:lnSpc>
        <a:spcBef>
          <a:spcPts val="208"/>
        </a:spcBef>
        <a:buFont typeface="Arial" panose="020B0604020202020204" pitchFamily="34" charset="0"/>
        <a:buChar char="•"/>
        <a:defRPr sz="751" kern="1200">
          <a:solidFill>
            <a:schemeClr val="tx1"/>
          </a:solidFill>
          <a:latin typeface="+mn-lt"/>
          <a:ea typeface="+mn-ea"/>
          <a:cs typeface="+mn-cs"/>
        </a:defRPr>
      </a:lvl8pPr>
      <a:lvl9pPr marL="1618605" indent="-95213" algn="l" defTabSz="380848" rtl="0" eaLnBrk="1" latinLnBrk="0" hangingPunct="1">
        <a:lnSpc>
          <a:spcPct val="90000"/>
        </a:lnSpc>
        <a:spcBef>
          <a:spcPts val="208"/>
        </a:spcBef>
        <a:buFont typeface="Arial" panose="020B0604020202020204" pitchFamily="34" charset="0"/>
        <a:buChar char="•"/>
        <a:defRPr sz="7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80848" rtl="0" eaLnBrk="1" latinLnBrk="0" hangingPunct="1">
        <a:defRPr sz="751" kern="1200">
          <a:solidFill>
            <a:schemeClr val="tx1"/>
          </a:solidFill>
          <a:latin typeface="+mn-lt"/>
          <a:ea typeface="+mn-ea"/>
          <a:cs typeface="+mn-cs"/>
        </a:defRPr>
      </a:lvl1pPr>
      <a:lvl2pPr marL="190424" algn="l" defTabSz="380848" rtl="0" eaLnBrk="1" latinLnBrk="0" hangingPunct="1">
        <a:defRPr sz="751" kern="1200">
          <a:solidFill>
            <a:schemeClr val="tx1"/>
          </a:solidFill>
          <a:latin typeface="+mn-lt"/>
          <a:ea typeface="+mn-ea"/>
          <a:cs typeface="+mn-cs"/>
        </a:defRPr>
      </a:lvl2pPr>
      <a:lvl3pPr marL="380848" algn="l" defTabSz="380848" rtl="0" eaLnBrk="1" latinLnBrk="0" hangingPunct="1">
        <a:defRPr sz="751" kern="1200">
          <a:solidFill>
            <a:schemeClr val="tx1"/>
          </a:solidFill>
          <a:latin typeface="+mn-lt"/>
          <a:ea typeface="+mn-ea"/>
          <a:cs typeface="+mn-cs"/>
        </a:defRPr>
      </a:lvl3pPr>
      <a:lvl4pPr marL="571272" algn="l" defTabSz="380848" rtl="0" eaLnBrk="1" latinLnBrk="0" hangingPunct="1">
        <a:defRPr sz="751" kern="1200">
          <a:solidFill>
            <a:schemeClr val="tx1"/>
          </a:solidFill>
          <a:latin typeface="+mn-lt"/>
          <a:ea typeface="+mn-ea"/>
          <a:cs typeface="+mn-cs"/>
        </a:defRPr>
      </a:lvl4pPr>
      <a:lvl5pPr marL="761697" algn="l" defTabSz="380848" rtl="0" eaLnBrk="1" latinLnBrk="0" hangingPunct="1">
        <a:defRPr sz="751" kern="1200">
          <a:solidFill>
            <a:schemeClr val="tx1"/>
          </a:solidFill>
          <a:latin typeface="+mn-lt"/>
          <a:ea typeface="+mn-ea"/>
          <a:cs typeface="+mn-cs"/>
        </a:defRPr>
      </a:lvl5pPr>
      <a:lvl6pPr marL="952121" algn="l" defTabSz="380848" rtl="0" eaLnBrk="1" latinLnBrk="0" hangingPunct="1">
        <a:defRPr sz="751" kern="1200">
          <a:solidFill>
            <a:schemeClr val="tx1"/>
          </a:solidFill>
          <a:latin typeface="+mn-lt"/>
          <a:ea typeface="+mn-ea"/>
          <a:cs typeface="+mn-cs"/>
        </a:defRPr>
      </a:lvl6pPr>
      <a:lvl7pPr marL="1142544" algn="l" defTabSz="380848" rtl="0" eaLnBrk="1" latinLnBrk="0" hangingPunct="1">
        <a:defRPr sz="751" kern="1200">
          <a:solidFill>
            <a:schemeClr val="tx1"/>
          </a:solidFill>
          <a:latin typeface="+mn-lt"/>
          <a:ea typeface="+mn-ea"/>
          <a:cs typeface="+mn-cs"/>
        </a:defRPr>
      </a:lvl7pPr>
      <a:lvl8pPr marL="1332968" algn="l" defTabSz="380848" rtl="0" eaLnBrk="1" latinLnBrk="0" hangingPunct="1">
        <a:defRPr sz="751" kern="1200">
          <a:solidFill>
            <a:schemeClr val="tx1"/>
          </a:solidFill>
          <a:latin typeface="+mn-lt"/>
          <a:ea typeface="+mn-ea"/>
          <a:cs typeface="+mn-cs"/>
        </a:defRPr>
      </a:lvl8pPr>
      <a:lvl9pPr marL="1523392" algn="l" defTabSz="380848" rtl="0" eaLnBrk="1" latinLnBrk="0" hangingPunct="1">
        <a:defRPr sz="7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8">
          <p15:clr>
            <a:srgbClr val="5ACBF0"/>
          </p15:clr>
        </p15:guide>
        <p15:guide id="4" orient="horz" pos="527">
          <p15:clr>
            <a:srgbClr val="F26B43"/>
          </p15:clr>
        </p15:guide>
        <p15:guide id="8" orient="horz" pos="3929">
          <p15:clr>
            <a:srgbClr val="F26B43"/>
          </p15:clr>
        </p15:guide>
        <p15:guide id="11" orient="horz" pos="4104">
          <p15:clr>
            <a:srgbClr val="5ACBF0"/>
          </p15:clr>
        </p15:guide>
        <p15:guide id="12" pos="228">
          <p15:clr>
            <a:srgbClr val="5ACBF0"/>
          </p15:clr>
        </p15:guide>
        <p15:guide id="28" pos="7452">
          <p15:clr>
            <a:srgbClr val="5ACBF0"/>
          </p15:clr>
        </p15:guide>
        <p15:guide id="34" pos="3912">
          <p15:clr>
            <a:srgbClr val="A4A3A4"/>
          </p15:clr>
        </p15:guide>
        <p15:guide id="40" orient="horz" pos="744">
          <p15:clr>
            <a:srgbClr val="A4A3A4"/>
          </p15:clr>
        </p15:guide>
        <p15:guide id="41" orient="horz" pos="992">
          <p15:clr>
            <a:srgbClr val="A4A3A4"/>
          </p15:clr>
        </p15:guide>
        <p15:guide id="42" orient="horz" pos="2030">
          <p15:clr>
            <a:srgbClr val="A4A3A4"/>
          </p15:clr>
        </p15:guide>
        <p15:guide id="45" orient="horz" pos="3584">
          <p15:clr>
            <a:srgbClr val="A4A3A4"/>
          </p15:clr>
        </p15:guide>
        <p15:guide id="46" orient="horz" pos="3672">
          <p15:clr>
            <a:srgbClr val="F26B43"/>
          </p15:clr>
        </p15:guide>
        <p15:guide id="47" orient="horz" pos="3990">
          <p15:clr>
            <a:srgbClr val="F26B43"/>
          </p15:clr>
        </p15:guide>
        <p15:guide id="48" pos="3840">
          <p15:clr>
            <a:srgbClr val="A4A3A4"/>
          </p15:clr>
        </p15:guide>
        <p15:guide id="49" pos="3768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599" name="Rectangle 23"/>
          <p:cNvSpPr>
            <a:spLocks noGrp="1" noChangeArrowheads="1"/>
          </p:cNvSpPr>
          <p:nvPr>
            <p:ph type="title"/>
          </p:nvPr>
        </p:nvSpPr>
        <p:spPr bwMode="gray">
          <a:xfrm>
            <a:off x="528000" y="3"/>
            <a:ext cx="11203200" cy="11096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0600" name="Rectangle 2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28000" y="1316765"/>
            <a:ext cx="11232200" cy="46268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0" y="6606843"/>
            <a:ext cx="609600" cy="24622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914354"/>
            <a:fld id="{1A043B0A-5740-4B74-8731-9730A0B481D5}" type="slidenum">
              <a:rPr lang="en-US" sz="1000" smtClean="0">
                <a:solidFill>
                  <a:srgbClr val="000000"/>
                </a:solidFill>
              </a:rPr>
              <a:pPr defTabSz="914354"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239351" y="1121421"/>
            <a:ext cx="10849205" cy="8093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21920" tIns="60960" rIns="121920" bIns="6096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11145465" y="1121421"/>
            <a:ext cx="626777" cy="80931"/>
          </a:xfrm>
          <a:prstGeom prst="rect">
            <a:avLst/>
          </a:prstGeom>
          <a:solidFill>
            <a:schemeClr val="accent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21920" tIns="60960" rIns="121920" bIns="6096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11835701" y="1121421"/>
            <a:ext cx="354187" cy="80931"/>
          </a:xfrm>
          <a:prstGeom prst="rect">
            <a:avLst/>
          </a:prstGeom>
          <a:solidFill>
            <a:schemeClr val="accent1">
              <a:alpha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21920" tIns="60960" rIns="121920" bIns="6096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Text Box 10"/>
          <p:cNvSpPr txBox="1">
            <a:spLocks noChangeArrowheads="1"/>
          </p:cNvSpPr>
          <p:nvPr/>
        </p:nvSpPr>
        <p:spPr bwMode="auto">
          <a:xfrm>
            <a:off x="5876096" y="6584040"/>
            <a:ext cx="375450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b">
            <a:spAutoFit/>
          </a:bodyPr>
          <a:lstStyle/>
          <a:p>
            <a:pPr algn="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chemeClr val="tx1"/>
                </a:solidFill>
              </a:rPr>
              <a:t>Do not copy or distribute. © 2022 Amgen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61049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</p:sldLayoutIdLst>
  <p:transition>
    <p:wipe dir="r"/>
  </p:transition>
  <p:hf hd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5pPr>
      <a:lvl6pPr marL="45717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6pPr>
      <a:lvl7pPr marL="91435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7pPr>
      <a:lvl8pPr marL="137153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8pPr>
      <a:lvl9pPr marL="182870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9pPr>
    </p:titleStyle>
    <p:bodyStyle>
      <a:lvl1pPr marL="380981" indent="-380981" algn="l" rtl="0" eaLnBrk="1" fontAlgn="base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accent1"/>
        </a:buClr>
        <a:buFont typeface="Wingdings" panose="05000000000000000000" pitchFamily="2" charset="2"/>
        <a:buChar char="§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838158" indent="-380981" algn="l" rtl="0" eaLnBrk="1" fontAlgn="base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</a:defRPr>
      </a:lvl2pPr>
      <a:lvl3pPr marL="1295336" indent="-380981" algn="l" rtl="0" eaLnBrk="1" fontAlgn="base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-"/>
        <a:defRPr sz="1867">
          <a:solidFill>
            <a:schemeClr val="tx1"/>
          </a:solidFill>
          <a:latin typeface="+mn-lt"/>
        </a:defRPr>
      </a:lvl3pPr>
      <a:lvl4pPr marL="1752512" indent="-380981" algn="l" rtl="0" eaLnBrk="1" fontAlgn="base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accent1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</a:defRPr>
      </a:lvl4pPr>
      <a:lvl5pPr marL="2057298" indent="-228589" algn="l" rtl="0" eaLnBrk="1" fontAlgn="base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accent1"/>
        </a:buClr>
        <a:buSzPct val="75000"/>
        <a:buFont typeface="Courier New" panose="02070309020205020404" pitchFamily="49" charset="0"/>
        <a:buChar char="o"/>
        <a:defRPr sz="1333">
          <a:solidFill>
            <a:schemeClr val="tx1"/>
          </a:solidFill>
          <a:latin typeface="+mn-lt"/>
        </a:defRPr>
      </a:lvl5pPr>
      <a:lvl6pPr marL="2514474" indent="-228589" algn="l" rtl="0" eaLnBrk="1" fontAlgn="base" hangingPunct="1">
        <a:lnSpc>
          <a:spcPct val="95000"/>
        </a:lnSpc>
        <a:spcBef>
          <a:spcPct val="20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6pPr>
      <a:lvl7pPr marL="2971652" indent="-228589" algn="l" rtl="0" eaLnBrk="1" fontAlgn="base" hangingPunct="1">
        <a:lnSpc>
          <a:spcPct val="95000"/>
        </a:lnSpc>
        <a:spcBef>
          <a:spcPct val="20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7pPr>
      <a:lvl8pPr marL="3428829" indent="-228589" algn="l" rtl="0" eaLnBrk="1" fontAlgn="base" hangingPunct="1">
        <a:lnSpc>
          <a:spcPct val="95000"/>
        </a:lnSpc>
        <a:spcBef>
          <a:spcPct val="20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8pPr>
      <a:lvl9pPr marL="3886006" indent="-228589" algn="l" rtl="0" eaLnBrk="1" fontAlgn="base" hangingPunct="1">
        <a:lnSpc>
          <a:spcPct val="95000"/>
        </a:lnSpc>
        <a:spcBef>
          <a:spcPct val="20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pos="5556">
          <p15:clr>
            <a:srgbClr val="F26B43"/>
          </p15:clr>
        </p15:guide>
        <p15:guide id="3" pos="245">
          <p15:clr>
            <a:srgbClr val="F26B43"/>
          </p15:clr>
        </p15:guide>
        <p15:guide id="4" orient="horz" pos="621">
          <p15:clr>
            <a:srgbClr val="F26B43"/>
          </p15:clr>
        </p15:guide>
        <p15:guide id="6" orient="horz" pos="281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61.xml"/><Relationship Id="rId4" Type="http://schemas.openxmlformats.org/officeDocument/2006/relationships/slide" Target="slide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6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" Target="slide1.xml"/><Relationship Id="rId1" Type="http://schemas.openxmlformats.org/officeDocument/2006/relationships/slideLayout" Target="../slideLayouts/slideLayout6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" Target="slide1.xml"/><Relationship Id="rId1" Type="http://schemas.openxmlformats.org/officeDocument/2006/relationships/slideLayout" Target="../slideLayouts/slideLayout6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6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" Target="slide1.xml"/><Relationship Id="rId1" Type="http://schemas.openxmlformats.org/officeDocument/2006/relationships/slideLayout" Target="../slideLayouts/slideLayout6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6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6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61.xml"/><Relationship Id="rId4" Type="http://schemas.openxmlformats.org/officeDocument/2006/relationships/slide" Target="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57200" y="5277637"/>
            <a:ext cx="10785587" cy="1186222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lang="en-US" sz="2000" b="1" spc="-300" dirty="0">
                <a:solidFill>
                  <a:srgbClr val="FFC20E"/>
                </a:solidFill>
                <a:latin typeface="Verdana" panose="020B0604030504040204" pitchFamily="34" charset="0"/>
                <a:ea typeface="Verdana" panose="020B0604030504040204" pitchFamily="34" charset="0"/>
                <a:cs typeface="Trebuchet MS"/>
              </a:rPr>
              <a:t>May 25</a:t>
            </a:r>
            <a:r>
              <a:rPr lang="en-US" sz="2000" b="1" spc="-300" baseline="30000" dirty="0">
                <a:solidFill>
                  <a:srgbClr val="FFC20E"/>
                </a:solidFill>
                <a:latin typeface="Verdana" panose="020B0604030504040204" pitchFamily="34" charset="0"/>
                <a:ea typeface="Verdana" panose="020B0604030504040204" pitchFamily="34" charset="0"/>
                <a:cs typeface="Trebuchet MS"/>
              </a:rPr>
              <a:t>th</a:t>
            </a:r>
            <a:r>
              <a:rPr lang="en-US" sz="2000" b="1" spc="-300" dirty="0">
                <a:solidFill>
                  <a:srgbClr val="FFC20E"/>
                </a:solidFill>
                <a:latin typeface="Verdana" panose="020B0604030504040204" pitchFamily="34" charset="0"/>
                <a:ea typeface="Verdana" panose="020B0604030504040204" pitchFamily="34" charset="0"/>
                <a:cs typeface="Trebuchet MS"/>
              </a:rPr>
              <a:t>, 2024</a:t>
            </a:r>
            <a:br>
              <a:rPr lang="en-US" sz="4800" b="1" spc="-300" dirty="0">
                <a:solidFill>
                  <a:srgbClr val="FFC20E"/>
                </a:solidFill>
                <a:latin typeface="Verdana" panose="020B0604030504040204" pitchFamily="34" charset="0"/>
                <a:ea typeface="Verdana" panose="020B0604030504040204" pitchFamily="34" charset="0"/>
                <a:cs typeface="Trebuchet MS"/>
              </a:rPr>
            </a:br>
            <a:r>
              <a:rPr lang="en-US" sz="2400" b="1" spc="-300" dirty="0">
                <a:solidFill>
                  <a:srgbClr val="FFC20E"/>
                </a:solidFill>
                <a:latin typeface="Verdana" panose="020B0604030504040204" pitchFamily="34" charset="0"/>
                <a:ea typeface="Verdana" panose="020B0604030504040204" pitchFamily="34" charset="0"/>
                <a:cs typeface="Trebuchet MS"/>
              </a:rPr>
              <a:t>Management of Ph- B-ALL: A focus on E1910 Study </a:t>
            </a:r>
            <a:br>
              <a:rPr lang="en-US" sz="3200" b="1" spc="-300" dirty="0">
                <a:solidFill>
                  <a:srgbClr val="FFC20E"/>
                </a:solidFill>
                <a:latin typeface="Verdana" panose="020B0604030504040204" pitchFamily="34" charset="0"/>
                <a:ea typeface="Verdana" panose="020B0604030504040204" pitchFamily="34" charset="0"/>
                <a:cs typeface="Trebuchet MS"/>
              </a:rPr>
            </a:br>
            <a:r>
              <a:rPr lang="en-US" sz="3200" b="1" spc="-3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Trebuchet MS"/>
              </a:rPr>
              <a:t>ADVISORS PRE-READS</a:t>
            </a:r>
            <a:endParaRPr sz="4800" spc="-3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Trebuchet M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8F06161-FC9B-C34A-556D-078A98D478B1}"/>
              </a:ext>
            </a:extLst>
          </p:cNvPr>
          <p:cNvSpPr txBox="1"/>
          <p:nvPr/>
        </p:nvSpPr>
        <p:spPr>
          <a:xfrm>
            <a:off x="9514893" y="6365115"/>
            <a:ext cx="248427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SC-GL-AMG103-00119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7345C-C065-5515-469F-62A406832C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8B7799-BB67-51E1-46A1-1628DA9022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2001" y="1219200"/>
            <a:ext cx="10820082" cy="276999"/>
          </a:xfrm>
        </p:spPr>
        <p:txBody>
          <a:bodyPr/>
          <a:lstStyle/>
          <a:p>
            <a:r>
              <a:rPr lang="en-US" dirty="0"/>
              <a:t>OS for undetectable MRD at randomization and for those between undetectable and 0.01%</a:t>
            </a:r>
          </a:p>
        </p:txBody>
      </p:sp>
      <p:pic>
        <p:nvPicPr>
          <p:cNvPr id="4" name="Picture 3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445"/>
          <a:stretch/>
        </p:blipFill>
        <p:spPr bwMode="auto">
          <a:xfrm>
            <a:off x="152400" y="1496199"/>
            <a:ext cx="5176838" cy="381952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Picture 4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6873" y="1496199"/>
            <a:ext cx="5521727" cy="4142601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Box 5"/>
          <p:cNvSpPr txBox="1"/>
          <p:nvPr/>
        </p:nvSpPr>
        <p:spPr>
          <a:xfrm>
            <a:off x="609600" y="5486400"/>
            <a:ext cx="5410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ian OS not reached both arms; HR 0.51, 95% CI: 0.27-0.97, p=0.038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553200" y="5474677"/>
            <a:ext cx="5410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ian OS NR vs 38.0 months, HR 0.35, 95% CI: 0.06-1.94, p=0.16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719D029-D389-3251-746B-3F0293FD0045}"/>
              </a:ext>
            </a:extLst>
          </p:cNvPr>
          <p:cNvSpPr/>
          <p:nvPr/>
        </p:nvSpPr>
        <p:spPr>
          <a:xfrm flipH="1" flipV="1">
            <a:off x="11710669" y="127008"/>
            <a:ext cx="310896" cy="310896"/>
          </a:xfrm>
          <a:prstGeom prst="ellipse">
            <a:avLst/>
          </a:prstGeom>
          <a:solidFill>
            <a:srgbClr val="0063C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B0CF561-E599-CA81-C1AC-5A3164D90D83}"/>
              </a:ext>
            </a:extLst>
          </p:cNvPr>
          <p:cNvGrpSpPr/>
          <p:nvPr/>
        </p:nvGrpSpPr>
        <p:grpSpPr>
          <a:xfrm>
            <a:off x="11766669" y="192116"/>
            <a:ext cx="198897" cy="180681"/>
            <a:chOff x="10602113" y="6516461"/>
            <a:chExt cx="200063" cy="181743"/>
          </a:xfrm>
          <a:solidFill>
            <a:srgbClr val="FFFFFF"/>
          </a:solidFill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D657FE8E-E338-FD54-1BE4-7FC65B233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6199" y="6562955"/>
              <a:ext cx="151306" cy="135249"/>
            </a:xfrm>
            <a:custGeom>
              <a:avLst/>
              <a:gdLst>
                <a:gd name="T0" fmla="*/ 0 w 878"/>
                <a:gd name="T1" fmla="*/ 541 h 786"/>
                <a:gd name="T2" fmla="*/ 0 w 878"/>
                <a:gd name="T3" fmla="*/ 327 h 786"/>
                <a:gd name="T4" fmla="*/ 18 w 878"/>
                <a:gd name="T5" fmla="*/ 292 h 786"/>
                <a:gd name="T6" fmla="*/ 421 w 878"/>
                <a:gd name="T7" fmla="*/ 10 h 786"/>
                <a:gd name="T8" fmla="*/ 460 w 878"/>
                <a:gd name="T9" fmla="*/ 10 h 786"/>
                <a:gd name="T10" fmla="*/ 860 w 878"/>
                <a:gd name="T11" fmla="*/ 290 h 786"/>
                <a:gd name="T12" fmla="*/ 878 w 878"/>
                <a:gd name="T13" fmla="*/ 325 h 786"/>
                <a:gd name="T14" fmla="*/ 878 w 878"/>
                <a:gd name="T15" fmla="*/ 755 h 786"/>
                <a:gd name="T16" fmla="*/ 848 w 878"/>
                <a:gd name="T17" fmla="*/ 786 h 786"/>
                <a:gd name="T18" fmla="*/ 582 w 878"/>
                <a:gd name="T19" fmla="*/ 786 h 786"/>
                <a:gd name="T20" fmla="*/ 552 w 878"/>
                <a:gd name="T21" fmla="*/ 755 h 786"/>
                <a:gd name="T22" fmla="*/ 552 w 878"/>
                <a:gd name="T23" fmla="*/ 405 h 786"/>
                <a:gd name="T24" fmla="*/ 520 w 878"/>
                <a:gd name="T25" fmla="*/ 372 h 786"/>
                <a:gd name="T26" fmla="*/ 354 w 878"/>
                <a:gd name="T27" fmla="*/ 372 h 786"/>
                <a:gd name="T28" fmla="*/ 329 w 878"/>
                <a:gd name="T29" fmla="*/ 398 h 786"/>
                <a:gd name="T30" fmla="*/ 329 w 878"/>
                <a:gd name="T31" fmla="*/ 750 h 786"/>
                <a:gd name="T32" fmla="*/ 294 w 878"/>
                <a:gd name="T33" fmla="*/ 786 h 786"/>
                <a:gd name="T34" fmla="*/ 32 w 878"/>
                <a:gd name="T35" fmla="*/ 786 h 786"/>
                <a:gd name="T36" fmla="*/ 0 w 878"/>
                <a:gd name="T37" fmla="*/ 753 h 786"/>
                <a:gd name="T38" fmla="*/ 0 w 878"/>
                <a:gd name="T39" fmla="*/ 541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78" h="786">
                  <a:moveTo>
                    <a:pt x="0" y="541"/>
                  </a:moveTo>
                  <a:cubicBezTo>
                    <a:pt x="0" y="470"/>
                    <a:pt x="1" y="398"/>
                    <a:pt x="0" y="327"/>
                  </a:cubicBezTo>
                  <a:cubicBezTo>
                    <a:pt x="0" y="311"/>
                    <a:pt x="5" y="301"/>
                    <a:pt x="18" y="292"/>
                  </a:cubicBezTo>
                  <a:cubicBezTo>
                    <a:pt x="152" y="198"/>
                    <a:pt x="287" y="104"/>
                    <a:pt x="421" y="10"/>
                  </a:cubicBezTo>
                  <a:cubicBezTo>
                    <a:pt x="435" y="0"/>
                    <a:pt x="446" y="0"/>
                    <a:pt x="460" y="10"/>
                  </a:cubicBezTo>
                  <a:cubicBezTo>
                    <a:pt x="593" y="104"/>
                    <a:pt x="726" y="197"/>
                    <a:pt x="860" y="290"/>
                  </a:cubicBezTo>
                  <a:cubicBezTo>
                    <a:pt x="873" y="299"/>
                    <a:pt x="878" y="309"/>
                    <a:pt x="878" y="325"/>
                  </a:cubicBezTo>
                  <a:cubicBezTo>
                    <a:pt x="878" y="468"/>
                    <a:pt x="878" y="612"/>
                    <a:pt x="878" y="755"/>
                  </a:cubicBezTo>
                  <a:cubicBezTo>
                    <a:pt x="878" y="781"/>
                    <a:pt x="874" y="786"/>
                    <a:pt x="848" y="786"/>
                  </a:cubicBezTo>
                  <a:cubicBezTo>
                    <a:pt x="759" y="786"/>
                    <a:pt x="670" y="786"/>
                    <a:pt x="582" y="786"/>
                  </a:cubicBezTo>
                  <a:cubicBezTo>
                    <a:pt x="555" y="786"/>
                    <a:pt x="552" y="782"/>
                    <a:pt x="552" y="755"/>
                  </a:cubicBezTo>
                  <a:cubicBezTo>
                    <a:pt x="552" y="638"/>
                    <a:pt x="552" y="522"/>
                    <a:pt x="552" y="405"/>
                  </a:cubicBezTo>
                  <a:cubicBezTo>
                    <a:pt x="552" y="373"/>
                    <a:pt x="552" y="372"/>
                    <a:pt x="520" y="372"/>
                  </a:cubicBezTo>
                  <a:cubicBezTo>
                    <a:pt x="465" y="372"/>
                    <a:pt x="409" y="373"/>
                    <a:pt x="354" y="372"/>
                  </a:cubicBezTo>
                  <a:cubicBezTo>
                    <a:pt x="335" y="372"/>
                    <a:pt x="328" y="379"/>
                    <a:pt x="329" y="398"/>
                  </a:cubicBezTo>
                  <a:cubicBezTo>
                    <a:pt x="329" y="515"/>
                    <a:pt x="329" y="632"/>
                    <a:pt x="329" y="750"/>
                  </a:cubicBezTo>
                  <a:cubicBezTo>
                    <a:pt x="329" y="783"/>
                    <a:pt x="327" y="786"/>
                    <a:pt x="294" y="786"/>
                  </a:cubicBezTo>
                  <a:cubicBezTo>
                    <a:pt x="207" y="786"/>
                    <a:pt x="119" y="786"/>
                    <a:pt x="32" y="786"/>
                  </a:cubicBezTo>
                  <a:cubicBezTo>
                    <a:pt x="4" y="786"/>
                    <a:pt x="0" y="781"/>
                    <a:pt x="0" y="753"/>
                  </a:cubicBezTo>
                  <a:cubicBezTo>
                    <a:pt x="0" y="682"/>
                    <a:pt x="0" y="612"/>
                    <a:pt x="0" y="5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28BC7E9C-99FE-F987-893A-2B12DD48C2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2113" y="6516461"/>
              <a:ext cx="200063" cy="93134"/>
            </a:xfrm>
            <a:custGeom>
              <a:avLst/>
              <a:gdLst>
                <a:gd name="T0" fmla="*/ 580 w 1161"/>
                <a:gd name="T1" fmla="*/ 1 h 541"/>
                <a:gd name="T2" fmla="*/ 601 w 1161"/>
                <a:gd name="T3" fmla="*/ 10 h 541"/>
                <a:gd name="T4" fmla="*/ 1141 w 1161"/>
                <a:gd name="T5" fmla="*/ 388 h 541"/>
                <a:gd name="T6" fmla="*/ 1147 w 1161"/>
                <a:gd name="T7" fmla="*/ 428 h 541"/>
                <a:gd name="T8" fmla="*/ 1085 w 1161"/>
                <a:gd name="T9" fmla="*/ 516 h 541"/>
                <a:gd name="T10" fmla="*/ 1041 w 1161"/>
                <a:gd name="T11" fmla="*/ 524 h 541"/>
                <a:gd name="T12" fmla="*/ 685 w 1161"/>
                <a:gd name="T13" fmla="*/ 274 h 541"/>
                <a:gd name="T14" fmla="*/ 600 w 1161"/>
                <a:gd name="T15" fmla="*/ 214 h 541"/>
                <a:gd name="T16" fmla="*/ 561 w 1161"/>
                <a:gd name="T17" fmla="*/ 214 h 541"/>
                <a:gd name="T18" fmla="*/ 126 w 1161"/>
                <a:gd name="T19" fmla="*/ 519 h 541"/>
                <a:gd name="T20" fmla="*/ 70 w 1161"/>
                <a:gd name="T21" fmla="*/ 508 h 541"/>
                <a:gd name="T22" fmla="*/ 12 w 1161"/>
                <a:gd name="T23" fmla="*/ 426 h 541"/>
                <a:gd name="T24" fmla="*/ 19 w 1161"/>
                <a:gd name="T25" fmla="*/ 388 h 541"/>
                <a:gd name="T26" fmla="*/ 561 w 1161"/>
                <a:gd name="T27" fmla="*/ 9 h 541"/>
                <a:gd name="T28" fmla="*/ 580 w 1161"/>
                <a:gd name="T29" fmla="*/ 1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61" h="541">
                  <a:moveTo>
                    <a:pt x="580" y="1"/>
                  </a:moveTo>
                  <a:cubicBezTo>
                    <a:pt x="589" y="1"/>
                    <a:pt x="595" y="6"/>
                    <a:pt x="601" y="10"/>
                  </a:cubicBezTo>
                  <a:cubicBezTo>
                    <a:pt x="781" y="136"/>
                    <a:pt x="961" y="262"/>
                    <a:pt x="1141" y="388"/>
                  </a:cubicBezTo>
                  <a:cubicBezTo>
                    <a:pt x="1160" y="401"/>
                    <a:pt x="1161" y="408"/>
                    <a:pt x="1147" y="428"/>
                  </a:cubicBezTo>
                  <a:cubicBezTo>
                    <a:pt x="1127" y="457"/>
                    <a:pt x="1106" y="487"/>
                    <a:pt x="1085" y="516"/>
                  </a:cubicBezTo>
                  <a:cubicBezTo>
                    <a:pt x="1070" y="538"/>
                    <a:pt x="1064" y="539"/>
                    <a:pt x="1041" y="524"/>
                  </a:cubicBezTo>
                  <a:cubicBezTo>
                    <a:pt x="922" y="440"/>
                    <a:pt x="804" y="357"/>
                    <a:pt x="685" y="274"/>
                  </a:cubicBezTo>
                  <a:cubicBezTo>
                    <a:pt x="656" y="254"/>
                    <a:pt x="627" y="235"/>
                    <a:pt x="600" y="214"/>
                  </a:cubicBezTo>
                  <a:cubicBezTo>
                    <a:pt x="586" y="203"/>
                    <a:pt x="576" y="203"/>
                    <a:pt x="561" y="214"/>
                  </a:cubicBezTo>
                  <a:cubicBezTo>
                    <a:pt x="416" y="316"/>
                    <a:pt x="271" y="417"/>
                    <a:pt x="126" y="519"/>
                  </a:cubicBezTo>
                  <a:cubicBezTo>
                    <a:pt x="94" y="541"/>
                    <a:pt x="92" y="541"/>
                    <a:pt x="70" y="508"/>
                  </a:cubicBezTo>
                  <a:cubicBezTo>
                    <a:pt x="51" y="481"/>
                    <a:pt x="31" y="454"/>
                    <a:pt x="12" y="426"/>
                  </a:cubicBezTo>
                  <a:cubicBezTo>
                    <a:pt x="0" y="408"/>
                    <a:pt x="1" y="401"/>
                    <a:pt x="19" y="388"/>
                  </a:cubicBezTo>
                  <a:cubicBezTo>
                    <a:pt x="200" y="262"/>
                    <a:pt x="380" y="135"/>
                    <a:pt x="561" y="9"/>
                  </a:cubicBezTo>
                  <a:cubicBezTo>
                    <a:pt x="567" y="5"/>
                    <a:pt x="573" y="0"/>
                    <a:pt x="58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0" name="Oval 19">
            <a:extLst>
              <a:ext uri="{FF2B5EF4-FFF2-40B4-BE49-F238E27FC236}">
                <a16:creationId xmlns:a16="http://schemas.microsoft.com/office/drawing/2014/main" id="{04ED9A49-1CBD-DDE8-A850-C66567AF2049}"/>
              </a:ext>
            </a:extLst>
          </p:cNvPr>
          <p:cNvSpPr/>
          <p:nvPr/>
        </p:nvSpPr>
        <p:spPr>
          <a:xfrm flipH="1" flipV="1">
            <a:off x="11337736" y="127008"/>
            <a:ext cx="310896" cy="310896"/>
          </a:xfrm>
          <a:prstGeom prst="ellipse">
            <a:avLst/>
          </a:prstGeom>
          <a:solidFill>
            <a:srgbClr val="0063C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75922AA-F031-CCDD-E2E4-47B49BABAE34}"/>
              </a:ext>
            </a:extLst>
          </p:cNvPr>
          <p:cNvSpPr/>
          <p:nvPr/>
        </p:nvSpPr>
        <p:spPr>
          <a:xfrm>
            <a:off x="11402846" y="192117"/>
            <a:ext cx="180678" cy="180680"/>
          </a:xfrm>
          <a:custGeom>
            <a:avLst/>
            <a:gdLst>
              <a:gd name="connsiteX0" fmla="*/ 109532 w 3182112"/>
              <a:gd name="connsiteY0" fmla="*/ 0 h 3182111"/>
              <a:gd name="connsiteX1" fmla="*/ 3072580 w 3182112"/>
              <a:gd name="connsiteY1" fmla="*/ 0 h 3182111"/>
              <a:gd name="connsiteX2" fmla="*/ 3182112 w 3182112"/>
              <a:gd name="connsiteY2" fmla="*/ 109532 h 3182111"/>
              <a:gd name="connsiteX3" fmla="*/ 3182112 w 3182112"/>
              <a:gd name="connsiteY3" fmla="*/ 3072580 h 3182111"/>
              <a:gd name="connsiteX4" fmla="*/ 3072580 w 3182112"/>
              <a:gd name="connsiteY4" fmla="*/ 3182112 h 3182111"/>
              <a:gd name="connsiteX5" fmla="*/ 109532 w 3182112"/>
              <a:gd name="connsiteY5" fmla="*/ 3182112 h 3182111"/>
              <a:gd name="connsiteX6" fmla="*/ 0 w 3182112"/>
              <a:gd name="connsiteY6" fmla="*/ 3072580 h 3182111"/>
              <a:gd name="connsiteX7" fmla="*/ 0 w 3182112"/>
              <a:gd name="connsiteY7" fmla="*/ 109532 h 3182111"/>
              <a:gd name="connsiteX8" fmla="*/ 109532 w 3182112"/>
              <a:gd name="connsiteY8" fmla="*/ 0 h 3182111"/>
              <a:gd name="connsiteX9" fmla="*/ 1069848 w 3182112"/>
              <a:gd name="connsiteY9" fmla="*/ 1700784 h 3182111"/>
              <a:gd name="connsiteX10" fmla="*/ 2715768 w 3182112"/>
              <a:gd name="connsiteY10" fmla="*/ 1700784 h 3182111"/>
              <a:gd name="connsiteX11" fmla="*/ 2825486 w 3182112"/>
              <a:gd name="connsiteY11" fmla="*/ 1591066 h 3182111"/>
              <a:gd name="connsiteX12" fmla="*/ 2715768 w 3182112"/>
              <a:gd name="connsiteY12" fmla="*/ 1481348 h 3182111"/>
              <a:gd name="connsiteX13" fmla="*/ 1069848 w 3182112"/>
              <a:gd name="connsiteY13" fmla="*/ 1481348 h 3182111"/>
              <a:gd name="connsiteX14" fmla="*/ 960130 w 3182112"/>
              <a:gd name="connsiteY14" fmla="*/ 1591066 h 3182111"/>
              <a:gd name="connsiteX15" fmla="*/ 1069848 w 3182112"/>
              <a:gd name="connsiteY15" fmla="*/ 1700784 h 3182111"/>
              <a:gd name="connsiteX16" fmla="*/ 1069848 w 3182112"/>
              <a:gd name="connsiteY16" fmla="*/ 2359142 h 3182111"/>
              <a:gd name="connsiteX17" fmla="*/ 2715768 w 3182112"/>
              <a:gd name="connsiteY17" fmla="*/ 2359142 h 3182111"/>
              <a:gd name="connsiteX18" fmla="*/ 2825486 w 3182112"/>
              <a:gd name="connsiteY18" fmla="*/ 2249424 h 3182111"/>
              <a:gd name="connsiteX19" fmla="*/ 2715768 w 3182112"/>
              <a:gd name="connsiteY19" fmla="*/ 2139706 h 3182111"/>
              <a:gd name="connsiteX20" fmla="*/ 1069848 w 3182112"/>
              <a:gd name="connsiteY20" fmla="*/ 2139706 h 3182111"/>
              <a:gd name="connsiteX21" fmla="*/ 960130 w 3182112"/>
              <a:gd name="connsiteY21" fmla="*/ 2249424 h 3182111"/>
              <a:gd name="connsiteX22" fmla="*/ 1069848 w 3182112"/>
              <a:gd name="connsiteY22" fmla="*/ 2359142 h 3182111"/>
              <a:gd name="connsiteX23" fmla="*/ 1069848 w 3182112"/>
              <a:gd name="connsiteY23" fmla="*/ 1042406 h 3182111"/>
              <a:gd name="connsiteX24" fmla="*/ 2715768 w 3182112"/>
              <a:gd name="connsiteY24" fmla="*/ 1042406 h 3182111"/>
              <a:gd name="connsiteX25" fmla="*/ 2825486 w 3182112"/>
              <a:gd name="connsiteY25" fmla="*/ 932688 h 3182111"/>
              <a:gd name="connsiteX26" fmla="*/ 2715768 w 3182112"/>
              <a:gd name="connsiteY26" fmla="*/ 822970 h 3182111"/>
              <a:gd name="connsiteX27" fmla="*/ 1069848 w 3182112"/>
              <a:gd name="connsiteY27" fmla="*/ 822970 h 3182111"/>
              <a:gd name="connsiteX28" fmla="*/ 960130 w 3182112"/>
              <a:gd name="connsiteY28" fmla="*/ 932688 h 3182111"/>
              <a:gd name="connsiteX29" fmla="*/ 1069848 w 3182112"/>
              <a:gd name="connsiteY29" fmla="*/ 1042406 h 3182111"/>
              <a:gd name="connsiteX30" fmla="*/ 356606 w 3182112"/>
              <a:gd name="connsiteY30" fmla="*/ 932688 h 3182111"/>
              <a:gd name="connsiteX31" fmla="*/ 576043 w 3182112"/>
              <a:gd name="connsiteY31" fmla="*/ 1152124 h 3182111"/>
              <a:gd name="connsiteX32" fmla="*/ 795518 w 3182112"/>
              <a:gd name="connsiteY32" fmla="*/ 932688 h 3182111"/>
              <a:gd name="connsiteX33" fmla="*/ 576043 w 3182112"/>
              <a:gd name="connsiteY33" fmla="*/ 713212 h 3182111"/>
              <a:gd name="connsiteX34" fmla="*/ 356606 w 3182112"/>
              <a:gd name="connsiteY34" fmla="*/ 932688 h 3182111"/>
              <a:gd name="connsiteX35" fmla="*/ 493766 w 3182112"/>
              <a:gd name="connsiteY35" fmla="*/ 932688 h 3182111"/>
              <a:gd name="connsiteX36" fmla="*/ 576043 w 3182112"/>
              <a:gd name="connsiteY36" fmla="*/ 850372 h 3182111"/>
              <a:gd name="connsiteX37" fmla="*/ 658368 w 3182112"/>
              <a:gd name="connsiteY37" fmla="*/ 932688 h 3182111"/>
              <a:gd name="connsiteX38" fmla="*/ 576043 w 3182112"/>
              <a:gd name="connsiteY38" fmla="*/ 1014964 h 3182111"/>
              <a:gd name="connsiteX39" fmla="*/ 493766 w 3182112"/>
              <a:gd name="connsiteY39" fmla="*/ 932688 h 3182111"/>
              <a:gd name="connsiteX40" fmla="*/ 356606 w 3182112"/>
              <a:gd name="connsiteY40" fmla="*/ 1591046 h 3182111"/>
              <a:gd name="connsiteX41" fmla="*/ 576043 w 3182112"/>
              <a:gd name="connsiteY41" fmla="*/ 1810483 h 3182111"/>
              <a:gd name="connsiteX42" fmla="*/ 795518 w 3182112"/>
              <a:gd name="connsiteY42" fmla="*/ 1591046 h 3182111"/>
              <a:gd name="connsiteX43" fmla="*/ 576043 w 3182112"/>
              <a:gd name="connsiteY43" fmla="*/ 1371610 h 3182111"/>
              <a:gd name="connsiteX44" fmla="*/ 356606 w 3182112"/>
              <a:gd name="connsiteY44" fmla="*/ 1591046 h 3182111"/>
              <a:gd name="connsiteX45" fmla="*/ 493766 w 3182112"/>
              <a:gd name="connsiteY45" fmla="*/ 1591046 h 3182111"/>
              <a:gd name="connsiteX46" fmla="*/ 576043 w 3182112"/>
              <a:gd name="connsiteY46" fmla="*/ 1508770 h 3182111"/>
              <a:gd name="connsiteX47" fmla="*/ 658368 w 3182112"/>
              <a:gd name="connsiteY47" fmla="*/ 1591046 h 3182111"/>
              <a:gd name="connsiteX48" fmla="*/ 576043 w 3182112"/>
              <a:gd name="connsiteY48" fmla="*/ 1673323 h 3182111"/>
              <a:gd name="connsiteX49" fmla="*/ 493766 w 3182112"/>
              <a:gd name="connsiteY49" fmla="*/ 1591046 h 3182111"/>
              <a:gd name="connsiteX50" fmla="*/ 356606 w 3182112"/>
              <a:gd name="connsiteY50" fmla="*/ 2249405 h 3182111"/>
              <a:gd name="connsiteX51" fmla="*/ 576043 w 3182112"/>
              <a:gd name="connsiteY51" fmla="*/ 2468880 h 3182111"/>
              <a:gd name="connsiteX52" fmla="*/ 795518 w 3182112"/>
              <a:gd name="connsiteY52" fmla="*/ 2249405 h 3182111"/>
              <a:gd name="connsiteX53" fmla="*/ 576043 w 3182112"/>
              <a:gd name="connsiteY53" fmla="*/ 2029968 h 3182111"/>
              <a:gd name="connsiteX54" fmla="*/ 356606 w 3182112"/>
              <a:gd name="connsiteY54" fmla="*/ 2249405 h 3182111"/>
              <a:gd name="connsiteX55" fmla="*/ 493766 w 3182112"/>
              <a:gd name="connsiteY55" fmla="*/ 2249405 h 3182111"/>
              <a:gd name="connsiteX56" fmla="*/ 576043 w 3182112"/>
              <a:gd name="connsiteY56" fmla="*/ 2167128 h 3182111"/>
              <a:gd name="connsiteX57" fmla="*/ 658368 w 3182112"/>
              <a:gd name="connsiteY57" fmla="*/ 2249405 h 3182111"/>
              <a:gd name="connsiteX58" fmla="*/ 576043 w 3182112"/>
              <a:gd name="connsiteY58" fmla="*/ 2331720 h 3182111"/>
              <a:gd name="connsiteX59" fmla="*/ 493766 w 3182112"/>
              <a:gd name="connsiteY59" fmla="*/ 2249405 h 3182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3182112" h="3182111">
                <a:moveTo>
                  <a:pt x="109532" y="0"/>
                </a:moveTo>
                <a:lnTo>
                  <a:pt x="3072580" y="0"/>
                </a:lnTo>
                <a:cubicBezTo>
                  <a:pt x="3133430" y="0"/>
                  <a:pt x="3182112" y="49025"/>
                  <a:pt x="3182112" y="109532"/>
                </a:cubicBezTo>
                <a:lnTo>
                  <a:pt x="3182112" y="3072580"/>
                </a:lnTo>
                <a:cubicBezTo>
                  <a:pt x="3182112" y="3133430"/>
                  <a:pt x="3133087" y="3182112"/>
                  <a:pt x="3072580" y="3182112"/>
                </a:cubicBezTo>
                <a:lnTo>
                  <a:pt x="109532" y="3182112"/>
                </a:lnTo>
                <a:cubicBezTo>
                  <a:pt x="48682" y="3182112"/>
                  <a:pt x="0" y="3133087"/>
                  <a:pt x="0" y="3072580"/>
                </a:cubicBezTo>
                <a:lnTo>
                  <a:pt x="0" y="109532"/>
                </a:lnTo>
                <a:cubicBezTo>
                  <a:pt x="0" y="48682"/>
                  <a:pt x="49025" y="0"/>
                  <a:pt x="109532" y="0"/>
                </a:cubicBezTo>
                <a:close/>
                <a:moveTo>
                  <a:pt x="1069848" y="1700784"/>
                </a:moveTo>
                <a:lnTo>
                  <a:pt x="2715768" y="1700784"/>
                </a:lnTo>
                <a:cubicBezTo>
                  <a:pt x="2776354" y="1700784"/>
                  <a:pt x="2825486" y="1651681"/>
                  <a:pt x="2825486" y="1591066"/>
                </a:cubicBezTo>
                <a:cubicBezTo>
                  <a:pt x="2825486" y="1530451"/>
                  <a:pt x="2776344" y="1481348"/>
                  <a:pt x="2715768" y="1481348"/>
                </a:cubicBezTo>
                <a:lnTo>
                  <a:pt x="1069848" y="1481348"/>
                </a:lnTo>
                <a:cubicBezTo>
                  <a:pt x="1009223" y="1481348"/>
                  <a:pt x="960130" y="1530451"/>
                  <a:pt x="960130" y="1591066"/>
                </a:cubicBezTo>
                <a:cubicBezTo>
                  <a:pt x="960130" y="1651681"/>
                  <a:pt x="1009233" y="1700784"/>
                  <a:pt x="1069848" y="1700784"/>
                </a:cubicBezTo>
                <a:close/>
                <a:moveTo>
                  <a:pt x="1069848" y="2359142"/>
                </a:moveTo>
                <a:lnTo>
                  <a:pt x="2715768" y="2359142"/>
                </a:lnTo>
                <a:cubicBezTo>
                  <a:pt x="2776354" y="2359142"/>
                  <a:pt x="2825486" y="2310039"/>
                  <a:pt x="2825486" y="2249424"/>
                </a:cubicBezTo>
                <a:cubicBezTo>
                  <a:pt x="2825486" y="2188839"/>
                  <a:pt x="2776344" y="2139706"/>
                  <a:pt x="2715768" y="2139706"/>
                </a:cubicBezTo>
                <a:lnTo>
                  <a:pt x="1069848" y="2139706"/>
                </a:lnTo>
                <a:cubicBezTo>
                  <a:pt x="1009223" y="2139706"/>
                  <a:pt x="960130" y="2188848"/>
                  <a:pt x="960130" y="2249424"/>
                </a:cubicBezTo>
                <a:cubicBezTo>
                  <a:pt x="960130" y="2310049"/>
                  <a:pt x="1009233" y="2359142"/>
                  <a:pt x="1069848" y="2359142"/>
                </a:cubicBezTo>
                <a:close/>
                <a:moveTo>
                  <a:pt x="1069848" y="1042406"/>
                </a:moveTo>
                <a:lnTo>
                  <a:pt x="2715768" y="1042406"/>
                </a:lnTo>
                <a:cubicBezTo>
                  <a:pt x="2776354" y="1042406"/>
                  <a:pt x="2825486" y="993264"/>
                  <a:pt x="2825486" y="932688"/>
                </a:cubicBezTo>
                <a:cubicBezTo>
                  <a:pt x="2825486" y="872073"/>
                  <a:pt x="2776344" y="822970"/>
                  <a:pt x="2715768" y="822970"/>
                </a:cubicBezTo>
                <a:lnTo>
                  <a:pt x="1069848" y="822970"/>
                </a:lnTo>
                <a:cubicBezTo>
                  <a:pt x="1009223" y="822970"/>
                  <a:pt x="960130" y="872073"/>
                  <a:pt x="960130" y="932688"/>
                </a:cubicBezTo>
                <a:cubicBezTo>
                  <a:pt x="960130" y="993274"/>
                  <a:pt x="1009233" y="1042406"/>
                  <a:pt x="1069848" y="1042406"/>
                </a:cubicBezTo>
                <a:close/>
                <a:moveTo>
                  <a:pt x="356606" y="932688"/>
                </a:moveTo>
                <a:cubicBezTo>
                  <a:pt x="356606" y="1053624"/>
                  <a:pt x="454842" y="1152124"/>
                  <a:pt x="576043" y="1152124"/>
                </a:cubicBezTo>
                <a:cubicBezTo>
                  <a:pt x="697018" y="1152124"/>
                  <a:pt x="795518" y="1053889"/>
                  <a:pt x="795518" y="932688"/>
                </a:cubicBezTo>
                <a:cubicBezTo>
                  <a:pt x="795518" y="811713"/>
                  <a:pt x="697243" y="713212"/>
                  <a:pt x="576043" y="713212"/>
                </a:cubicBezTo>
                <a:cubicBezTo>
                  <a:pt x="455107" y="713212"/>
                  <a:pt x="356606" y="811488"/>
                  <a:pt x="356606" y="932688"/>
                </a:cubicBezTo>
                <a:close/>
                <a:moveTo>
                  <a:pt x="493766" y="932688"/>
                </a:moveTo>
                <a:cubicBezTo>
                  <a:pt x="493766" y="887337"/>
                  <a:pt x="530731" y="850372"/>
                  <a:pt x="576043" y="850372"/>
                </a:cubicBezTo>
                <a:cubicBezTo>
                  <a:pt x="621394" y="850372"/>
                  <a:pt x="658368" y="887376"/>
                  <a:pt x="658368" y="932688"/>
                </a:cubicBezTo>
                <a:cubicBezTo>
                  <a:pt x="658368" y="978039"/>
                  <a:pt x="621354" y="1014964"/>
                  <a:pt x="576043" y="1014964"/>
                </a:cubicBezTo>
                <a:cubicBezTo>
                  <a:pt x="530731" y="1014964"/>
                  <a:pt x="493766" y="978000"/>
                  <a:pt x="493766" y="932688"/>
                </a:cubicBezTo>
                <a:close/>
                <a:moveTo>
                  <a:pt x="356606" y="1591046"/>
                </a:moveTo>
                <a:cubicBezTo>
                  <a:pt x="356606" y="1712021"/>
                  <a:pt x="454842" y="1810483"/>
                  <a:pt x="576043" y="1810483"/>
                </a:cubicBezTo>
                <a:cubicBezTo>
                  <a:pt x="697018" y="1810483"/>
                  <a:pt x="795518" y="1712247"/>
                  <a:pt x="795518" y="1591046"/>
                </a:cubicBezTo>
                <a:cubicBezTo>
                  <a:pt x="795518" y="1470071"/>
                  <a:pt x="697243" y="1371610"/>
                  <a:pt x="576043" y="1371610"/>
                </a:cubicBezTo>
                <a:cubicBezTo>
                  <a:pt x="455107" y="1371610"/>
                  <a:pt x="356606" y="1469846"/>
                  <a:pt x="356606" y="1591046"/>
                </a:cubicBezTo>
                <a:close/>
                <a:moveTo>
                  <a:pt x="493766" y="1591046"/>
                </a:moveTo>
                <a:cubicBezTo>
                  <a:pt x="493766" y="1545695"/>
                  <a:pt x="530731" y="1508770"/>
                  <a:pt x="576043" y="1508770"/>
                </a:cubicBezTo>
                <a:cubicBezTo>
                  <a:pt x="621394" y="1508770"/>
                  <a:pt x="658368" y="1545734"/>
                  <a:pt x="658368" y="1591046"/>
                </a:cubicBezTo>
                <a:cubicBezTo>
                  <a:pt x="658368" y="1636397"/>
                  <a:pt x="621354" y="1673323"/>
                  <a:pt x="576043" y="1673323"/>
                </a:cubicBezTo>
                <a:cubicBezTo>
                  <a:pt x="530731" y="1673323"/>
                  <a:pt x="493766" y="1636358"/>
                  <a:pt x="493766" y="1591046"/>
                </a:cubicBezTo>
                <a:close/>
                <a:moveTo>
                  <a:pt x="356606" y="2249405"/>
                </a:moveTo>
                <a:cubicBezTo>
                  <a:pt x="356606" y="2370380"/>
                  <a:pt x="454842" y="2468880"/>
                  <a:pt x="576043" y="2468880"/>
                </a:cubicBezTo>
                <a:cubicBezTo>
                  <a:pt x="697018" y="2468880"/>
                  <a:pt x="795518" y="2370605"/>
                  <a:pt x="795518" y="2249405"/>
                </a:cubicBezTo>
                <a:cubicBezTo>
                  <a:pt x="795518" y="2128469"/>
                  <a:pt x="697243" y="2029968"/>
                  <a:pt x="576043" y="2029968"/>
                </a:cubicBezTo>
                <a:cubicBezTo>
                  <a:pt x="455107" y="2029968"/>
                  <a:pt x="356606" y="2128204"/>
                  <a:pt x="356606" y="2249405"/>
                </a:cubicBezTo>
                <a:close/>
                <a:moveTo>
                  <a:pt x="493766" y="2249405"/>
                </a:moveTo>
                <a:cubicBezTo>
                  <a:pt x="493766" y="2204054"/>
                  <a:pt x="530731" y="2167128"/>
                  <a:pt x="576043" y="2167128"/>
                </a:cubicBezTo>
                <a:cubicBezTo>
                  <a:pt x="621394" y="2167128"/>
                  <a:pt x="658368" y="2204093"/>
                  <a:pt x="658368" y="2249405"/>
                </a:cubicBezTo>
                <a:cubicBezTo>
                  <a:pt x="658368" y="2294755"/>
                  <a:pt x="621354" y="2331720"/>
                  <a:pt x="576043" y="2331720"/>
                </a:cubicBezTo>
                <a:cubicBezTo>
                  <a:pt x="530731" y="2331720"/>
                  <a:pt x="493766" y="2294716"/>
                  <a:pt x="493766" y="2249405"/>
                </a:cubicBezTo>
                <a:close/>
              </a:path>
            </a:pathLst>
          </a:custGeom>
          <a:solidFill>
            <a:srgbClr val="FFFFFF"/>
          </a:solidFill>
          <a:ln w="97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2" name="Oval 21">
            <a:hlinkClick r:id="" action="ppaction://noaction"/>
            <a:extLst>
              <a:ext uri="{FF2B5EF4-FFF2-40B4-BE49-F238E27FC236}">
                <a16:creationId xmlns:a16="http://schemas.microsoft.com/office/drawing/2014/main" id="{E435CEB2-3AF0-BC32-EA07-F8F46CDCF2DB}"/>
              </a:ext>
            </a:extLst>
          </p:cNvPr>
          <p:cNvSpPr/>
          <p:nvPr/>
        </p:nvSpPr>
        <p:spPr>
          <a:xfrm flipH="1" flipV="1">
            <a:off x="11337736" y="127008"/>
            <a:ext cx="310896" cy="310896"/>
          </a:xfrm>
          <a:prstGeom prst="ellipse">
            <a:avLst/>
          </a:prstGeom>
          <a:noFill/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Oval 22">
            <a:hlinkClick r:id="rId4" action="ppaction://hlinksldjump"/>
            <a:extLst>
              <a:ext uri="{FF2B5EF4-FFF2-40B4-BE49-F238E27FC236}">
                <a16:creationId xmlns:a16="http://schemas.microsoft.com/office/drawing/2014/main" id="{DD5AD8BD-7836-A46D-5845-D3A7FE9CB695}"/>
              </a:ext>
            </a:extLst>
          </p:cNvPr>
          <p:cNvSpPr/>
          <p:nvPr/>
        </p:nvSpPr>
        <p:spPr>
          <a:xfrm flipH="1" flipV="1">
            <a:off x="11710669" y="127008"/>
            <a:ext cx="310896" cy="310896"/>
          </a:xfrm>
          <a:prstGeom prst="ellipse">
            <a:avLst/>
          </a:prstGeom>
          <a:noFill/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5255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7345C-C065-5515-469F-62A406832C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8B7799-BB67-51E1-46A1-1628DA9022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126" y="932354"/>
            <a:ext cx="10820082" cy="276999"/>
          </a:xfrm>
        </p:spPr>
        <p:txBody>
          <a:bodyPr/>
          <a:lstStyle/>
          <a:p>
            <a:r>
              <a:rPr lang="en-US" dirty="0"/>
              <a:t>OS for MRD &lt; 0.01% by MRD level and by whether or not </a:t>
            </a:r>
            <a:r>
              <a:rPr lang="en-US" dirty="0" err="1"/>
              <a:t>blinatumomab</a:t>
            </a:r>
            <a:r>
              <a:rPr lang="en-US" dirty="0"/>
              <a:t> was given</a:t>
            </a:r>
          </a:p>
        </p:txBody>
      </p:sp>
      <p:pic>
        <p:nvPicPr>
          <p:cNvPr id="4" name="Picture 3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02" t="2258" r="2803"/>
          <a:stretch/>
        </p:blipFill>
        <p:spPr bwMode="auto">
          <a:xfrm>
            <a:off x="2187437" y="1309604"/>
            <a:ext cx="6865123" cy="5182637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A94FC920-CDA3-80D4-3B57-70F2CEF07704}"/>
              </a:ext>
            </a:extLst>
          </p:cNvPr>
          <p:cNvSpPr/>
          <p:nvPr/>
        </p:nvSpPr>
        <p:spPr>
          <a:xfrm flipH="1" flipV="1">
            <a:off x="11710669" y="127008"/>
            <a:ext cx="310896" cy="310896"/>
          </a:xfrm>
          <a:prstGeom prst="ellipse">
            <a:avLst/>
          </a:prstGeom>
          <a:solidFill>
            <a:srgbClr val="0063C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D911435-FE2F-4570-D81F-A55F9FEBDF07}"/>
              </a:ext>
            </a:extLst>
          </p:cNvPr>
          <p:cNvGrpSpPr/>
          <p:nvPr/>
        </p:nvGrpSpPr>
        <p:grpSpPr>
          <a:xfrm>
            <a:off x="11766669" y="192116"/>
            <a:ext cx="198897" cy="180681"/>
            <a:chOff x="10602113" y="6516461"/>
            <a:chExt cx="200063" cy="181743"/>
          </a:xfrm>
          <a:solidFill>
            <a:srgbClr val="FFFFFF"/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AA4180F3-3AB0-7786-BC8A-F731A5B6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6199" y="6562955"/>
              <a:ext cx="151306" cy="135249"/>
            </a:xfrm>
            <a:custGeom>
              <a:avLst/>
              <a:gdLst>
                <a:gd name="T0" fmla="*/ 0 w 878"/>
                <a:gd name="T1" fmla="*/ 541 h 786"/>
                <a:gd name="T2" fmla="*/ 0 w 878"/>
                <a:gd name="T3" fmla="*/ 327 h 786"/>
                <a:gd name="T4" fmla="*/ 18 w 878"/>
                <a:gd name="T5" fmla="*/ 292 h 786"/>
                <a:gd name="T6" fmla="*/ 421 w 878"/>
                <a:gd name="T7" fmla="*/ 10 h 786"/>
                <a:gd name="T8" fmla="*/ 460 w 878"/>
                <a:gd name="T9" fmla="*/ 10 h 786"/>
                <a:gd name="T10" fmla="*/ 860 w 878"/>
                <a:gd name="T11" fmla="*/ 290 h 786"/>
                <a:gd name="T12" fmla="*/ 878 w 878"/>
                <a:gd name="T13" fmla="*/ 325 h 786"/>
                <a:gd name="T14" fmla="*/ 878 w 878"/>
                <a:gd name="T15" fmla="*/ 755 h 786"/>
                <a:gd name="T16" fmla="*/ 848 w 878"/>
                <a:gd name="T17" fmla="*/ 786 h 786"/>
                <a:gd name="T18" fmla="*/ 582 w 878"/>
                <a:gd name="T19" fmla="*/ 786 h 786"/>
                <a:gd name="T20" fmla="*/ 552 w 878"/>
                <a:gd name="T21" fmla="*/ 755 h 786"/>
                <a:gd name="T22" fmla="*/ 552 w 878"/>
                <a:gd name="T23" fmla="*/ 405 h 786"/>
                <a:gd name="T24" fmla="*/ 520 w 878"/>
                <a:gd name="T25" fmla="*/ 372 h 786"/>
                <a:gd name="T26" fmla="*/ 354 w 878"/>
                <a:gd name="T27" fmla="*/ 372 h 786"/>
                <a:gd name="T28" fmla="*/ 329 w 878"/>
                <a:gd name="T29" fmla="*/ 398 h 786"/>
                <a:gd name="T30" fmla="*/ 329 w 878"/>
                <a:gd name="T31" fmla="*/ 750 h 786"/>
                <a:gd name="T32" fmla="*/ 294 w 878"/>
                <a:gd name="T33" fmla="*/ 786 h 786"/>
                <a:gd name="T34" fmla="*/ 32 w 878"/>
                <a:gd name="T35" fmla="*/ 786 h 786"/>
                <a:gd name="T36" fmla="*/ 0 w 878"/>
                <a:gd name="T37" fmla="*/ 753 h 786"/>
                <a:gd name="T38" fmla="*/ 0 w 878"/>
                <a:gd name="T39" fmla="*/ 541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78" h="786">
                  <a:moveTo>
                    <a:pt x="0" y="541"/>
                  </a:moveTo>
                  <a:cubicBezTo>
                    <a:pt x="0" y="470"/>
                    <a:pt x="1" y="398"/>
                    <a:pt x="0" y="327"/>
                  </a:cubicBezTo>
                  <a:cubicBezTo>
                    <a:pt x="0" y="311"/>
                    <a:pt x="5" y="301"/>
                    <a:pt x="18" y="292"/>
                  </a:cubicBezTo>
                  <a:cubicBezTo>
                    <a:pt x="152" y="198"/>
                    <a:pt x="287" y="104"/>
                    <a:pt x="421" y="10"/>
                  </a:cubicBezTo>
                  <a:cubicBezTo>
                    <a:pt x="435" y="0"/>
                    <a:pt x="446" y="0"/>
                    <a:pt x="460" y="10"/>
                  </a:cubicBezTo>
                  <a:cubicBezTo>
                    <a:pt x="593" y="104"/>
                    <a:pt x="726" y="197"/>
                    <a:pt x="860" y="290"/>
                  </a:cubicBezTo>
                  <a:cubicBezTo>
                    <a:pt x="873" y="299"/>
                    <a:pt x="878" y="309"/>
                    <a:pt x="878" y="325"/>
                  </a:cubicBezTo>
                  <a:cubicBezTo>
                    <a:pt x="878" y="468"/>
                    <a:pt x="878" y="612"/>
                    <a:pt x="878" y="755"/>
                  </a:cubicBezTo>
                  <a:cubicBezTo>
                    <a:pt x="878" y="781"/>
                    <a:pt x="874" y="786"/>
                    <a:pt x="848" y="786"/>
                  </a:cubicBezTo>
                  <a:cubicBezTo>
                    <a:pt x="759" y="786"/>
                    <a:pt x="670" y="786"/>
                    <a:pt x="582" y="786"/>
                  </a:cubicBezTo>
                  <a:cubicBezTo>
                    <a:pt x="555" y="786"/>
                    <a:pt x="552" y="782"/>
                    <a:pt x="552" y="755"/>
                  </a:cubicBezTo>
                  <a:cubicBezTo>
                    <a:pt x="552" y="638"/>
                    <a:pt x="552" y="522"/>
                    <a:pt x="552" y="405"/>
                  </a:cubicBezTo>
                  <a:cubicBezTo>
                    <a:pt x="552" y="373"/>
                    <a:pt x="552" y="372"/>
                    <a:pt x="520" y="372"/>
                  </a:cubicBezTo>
                  <a:cubicBezTo>
                    <a:pt x="465" y="372"/>
                    <a:pt x="409" y="373"/>
                    <a:pt x="354" y="372"/>
                  </a:cubicBezTo>
                  <a:cubicBezTo>
                    <a:pt x="335" y="372"/>
                    <a:pt x="328" y="379"/>
                    <a:pt x="329" y="398"/>
                  </a:cubicBezTo>
                  <a:cubicBezTo>
                    <a:pt x="329" y="515"/>
                    <a:pt x="329" y="632"/>
                    <a:pt x="329" y="750"/>
                  </a:cubicBezTo>
                  <a:cubicBezTo>
                    <a:pt x="329" y="783"/>
                    <a:pt x="327" y="786"/>
                    <a:pt x="294" y="786"/>
                  </a:cubicBezTo>
                  <a:cubicBezTo>
                    <a:pt x="207" y="786"/>
                    <a:pt x="119" y="786"/>
                    <a:pt x="32" y="786"/>
                  </a:cubicBezTo>
                  <a:cubicBezTo>
                    <a:pt x="4" y="786"/>
                    <a:pt x="0" y="781"/>
                    <a:pt x="0" y="753"/>
                  </a:cubicBezTo>
                  <a:cubicBezTo>
                    <a:pt x="0" y="682"/>
                    <a:pt x="0" y="612"/>
                    <a:pt x="0" y="5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9D3338B4-BBD9-4597-79D2-3C9584690B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2113" y="6516461"/>
              <a:ext cx="200063" cy="93134"/>
            </a:xfrm>
            <a:custGeom>
              <a:avLst/>
              <a:gdLst>
                <a:gd name="T0" fmla="*/ 580 w 1161"/>
                <a:gd name="T1" fmla="*/ 1 h 541"/>
                <a:gd name="T2" fmla="*/ 601 w 1161"/>
                <a:gd name="T3" fmla="*/ 10 h 541"/>
                <a:gd name="T4" fmla="*/ 1141 w 1161"/>
                <a:gd name="T5" fmla="*/ 388 h 541"/>
                <a:gd name="T6" fmla="*/ 1147 w 1161"/>
                <a:gd name="T7" fmla="*/ 428 h 541"/>
                <a:gd name="T8" fmla="*/ 1085 w 1161"/>
                <a:gd name="T9" fmla="*/ 516 h 541"/>
                <a:gd name="T10" fmla="*/ 1041 w 1161"/>
                <a:gd name="T11" fmla="*/ 524 h 541"/>
                <a:gd name="T12" fmla="*/ 685 w 1161"/>
                <a:gd name="T13" fmla="*/ 274 h 541"/>
                <a:gd name="T14" fmla="*/ 600 w 1161"/>
                <a:gd name="T15" fmla="*/ 214 h 541"/>
                <a:gd name="T16" fmla="*/ 561 w 1161"/>
                <a:gd name="T17" fmla="*/ 214 h 541"/>
                <a:gd name="T18" fmla="*/ 126 w 1161"/>
                <a:gd name="T19" fmla="*/ 519 h 541"/>
                <a:gd name="T20" fmla="*/ 70 w 1161"/>
                <a:gd name="T21" fmla="*/ 508 h 541"/>
                <a:gd name="T22" fmla="*/ 12 w 1161"/>
                <a:gd name="T23" fmla="*/ 426 h 541"/>
                <a:gd name="T24" fmla="*/ 19 w 1161"/>
                <a:gd name="T25" fmla="*/ 388 h 541"/>
                <a:gd name="T26" fmla="*/ 561 w 1161"/>
                <a:gd name="T27" fmla="*/ 9 h 541"/>
                <a:gd name="T28" fmla="*/ 580 w 1161"/>
                <a:gd name="T29" fmla="*/ 1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61" h="541">
                  <a:moveTo>
                    <a:pt x="580" y="1"/>
                  </a:moveTo>
                  <a:cubicBezTo>
                    <a:pt x="589" y="1"/>
                    <a:pt x="595" y="6"/>
                    <a:pt x="601" y="10"/>
                  </a:cubicBezTo>
                  <a:cubicBezTo>
                    <a:pt x="781" y="136"/>
                    <a:pt x="961" y="262"/>
                    <a:pt x="1141" y="388"/>
                  </a:cubicBezTo>
                  <a:cubicBezTo>
                    <a:pt x="1160" y="401"/>
                    <a:pt x="1161" y="408"/>
                    <a:pt x="1147" y="428"/>
                  </a:cubicBezTo>
                  <a:cubicBezTo>
                    <a:pt x="1127" y="457"/>
                    <a:pt x="1106" y="487"/>
                    <a:pt x="1085" y="516"/>
                  </a:cubicBezTo>
                  <a:cubicBezTo>
                    <a:pt x="1070" y="538"/>
                    <a:pt x="1064" y="539"/>
                    <a:pt x="1041" y="524"/>
                  </a:cubicBezTo>
                  <a:cubicBezTo>
                    <a:pt x="922" y="440"/>
                    <a:pt x="804" y="357"/>
                    <a:pt x="685" y="274"/>
                  </a:cubicBezTo>
                  <a:cubicBezTo>
                    <a:pt x="656" y="254"/>
                    <a:pt x="627" y="235"/>
                    <a:pt x="600" y="214"/>
                  </a:cubicBezTo>
                  <a:cubicBezTo>
                    <a:pt x="586" y="203"/>
                    <a:pt x="576" y="203"/>
                    <a:pt x="561" y="214"/>
                  </a:cubicBezTo>
                  <a:cubicBezTo>
                    <a:pt x="416" y="316"/>
                    <a:pt x="271" y="417"/>
                    <a:pt x="126" y="519"/>
                  </a:cubicBezTo>
                  <a:cubicBezTo>
                    <a:pt x="94" y="541"/>
                    <a:pt x="92" y="541"/>
                    <a:pt x="70" y="508"/>
                  </a:cubicBezTo>
                  <a:cubicBezTo>
                    <a:pt x="51" y="481"/>
                    <a:pt x="31" y="454"/>
                    <a:pt x="12" y="426"/>
                  </a:cubicBezTo>
                  <a:cubicBezTo>
                    <a:pt x="0" y="408"/>
                    <a:pt x="1" y="401"/>
                    <a:pt x="19" y="388"/>
                  </a:cubicBezTo>
                  <a:cubicBezTo>
                    <a:pt x="200" y="262"/>
                    <a:pt x="380" y="135"/>
                    <a:pt x="561" y="9"/>
                  </a:cubicBezTo>
                  <a:cubicBezTo>
                    <a:pt x="567" y="5"/>
                    <a:pt x="573" y="0"/>
                    <a:pt x="58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7" name="Oval 16">
            <a:extLst>
              <a:ext uri="{FF2B5EF4-FFF2-40B4-BE49-F238E27FC236}">
                <a16:creationId xmlns:a16="http://schemas.microsoft.com/office/drawing/2014/main" id="{8416D040-E805-08C9-D574-18A890017593}"/>
              </a:ext>
            </a:extLst>
          </p:cNvPr>
          <p:cNvSpPr/>
          <p:nvPr/>
        </p:nvSpPr>
        <p:spPr>
          <a:xfrm flipH="1" flipV="1">
            <a:off x="11337736" y="127008"/>
            <a:ext cx="310896" cy="310896"/>
          </a:xfrm>
          <a:prstGeom prst="ellipse">
            <a:avLst/>
          </a:prstGeom>
          <a:solidFill>
            <a:srgbClr val="0063C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5AC6A4DE-EB13-E657-3FCB-387CB728494E}"/>
              </a:ext>
            </a:extLst>
          </p:cNvPr>
          <p:cNvSpPr/>
          <p:nvPr/>
        </p:nvSpPr>
        <p:spPr>
          <a:xfrm>
            <a:off x="11402846" y="192117"/>
            <a:ext cx="180678" cy="180680"/>
          </a:xfrm>
          <a:custGeom>
            <a:avLst/>
            <a:gdLst>
              <a:gd name="connsiteX0" fmla="*/ 109532 w 3182112"/>
              <a:gd name="connsiteY0" fmla="*/ 0 h 3182111"/>
              <a:gd name="connsiteX1" fmla="*/ 3072580 w 3182112"/>
              <a:gd name="connsiteY1" fmla="*/ 0 h 3182111"/>
              <a:gd name="connsiteX2" fmla="*/ 3182112 w 3182112"/>
              <a:gd name="connsiteY2" fmla="*/ 109532 h 3182111"/>
              <a:gd name="connsiteX3" fmla="*/ 3182112 w 3182112"/>
              <a:gd name="connsiteY3" fmla="*/ 3072580 h 3182111"/>
              <a:gd name="connsiteX4" fmla="*/ 3072580 w 3182112"/>
              <a:gd name="connsiteY4" fmla="*/ 3182112 h 3182111"/>
              <a:gd name="connsiteX5" fmla="*/ 109532 w 3182112"/>
              <a:gd name="connsiteY5" fmla="*/ 3182112 h 3182111"/>
              <a:gd name="connsiteX6" fmla="*/ 0 w 3182112"/>
              <a:gd name="connsiteY6" fmla="*/ 3072580 h 3182111"/>
              <a:gd name="connsiteX7" fmla="*/ 0 w 3182112"/>
              <a:gd name="connsiteY7" fmla="*/ 109532 h 3182111"/>
              <a:gd name="connsiteX8" fmla="*/ 109532 w 3182112"/>
              <a:gd name="connsiteY8" fmla="*/ 0 h 3182111"/>
              <a:gd name="connsiteX9" fmla="*/ 1069848 w 3182112"/>
              <a:gd name="connsiteY9" fmla="*/ 1700784 h 3182111"/>
              <a:gd name="connsiteX10" fmla="*/ 2715768 w 3182112"/>
              <a:gd name="connsiteY10" fmla="*/ 1700784 h 3182111"/>
              <a:gd name="connsiteX11" fmla="*/ 2825486 w 3182112"/>
              <a:gd name="connsiteY11" fmla="*/ 1591066 h 3182111"/>
              <a:gd name="connsiteX12" fmla="*/ 2715768 w 3182112"/>
              <a:gd name="connsiteY12" fmla="*/ 1481348 h 3182111"/>
              <a:gd name="connsiteX13" fmla="*/ 1069848 w 3182112"/>
              <a:gd name="connsiteY13" fmla="*/ 1481348 h 3182111"/>
              <a:gd name="connsiteX14" fmla="*/ 960130 w 3182112"/>
              <a:gd name="connsiteY14" fmla="*/ 1591066 h 3182111"/>
              <a:gd name="connsiteX15" fmla="*/ 1069848 w 3182112"/>
              <a:gd name="connsiteY15" fmla="*/ 1700784 h 3182111"/>
              <a:gd name="connsiteX16" fmla="*/ 1069848 w 3182112"/>
              <a:gd name="connsiteY16" fmla="*/ 2359142 h 3182111"/>
              <a:gd name="connsiteX17" fmla="*/ 2715768 w 3182112"/>
              <a:gd name="connsiteY17" fmla="*/ 2359142 h 3182111"/>
              <a:gd name="connsiteX18" fmla="*/ 2825486 w 3182112"/>
              <a:gd name="connsiteY18" fmla="*/ 2249424 h 3182111"/>
              <a:gd name="connsiteX19" fmla="*/ 2715768 w 3182112"/>
              <a:gd name="connsiteY19" fmla="*/ 2139706 h 3182111"/>
              <a:gd name="connsiteX20" fmla="*/ 1069848 w 3182112"/>
              <a:gd name="connsiteY20" fmla="*/ 2139706 h 3182111"/>
              <a:gd name="connsiteX21" fmla="*/ 960130 w 3182112"/>
              <a:gd name="connsiteY21" fmla="*/ 2249424 h 3182111"/>
              <a:gd name="connsiteX22" fmla="*/ 1069848 w 3182112"/>
              <a:gd name="connsiteY22" fmla="*/ 2359142 h 3182111"/>
              <a:gd name="connsiteX23" fmla="*/ 1069848 w 3182112"/>
              <a:gd name="connsiteY23" fmla="*/ 1042406 h 3182111"/>
              <a:gd name="connsiteX24" fmla="*/ 2715768 w 3182112"/>
              <a:gd name="connsiteY24" fmla="*/ 1042406 h 3182111"/>
              <a:gd name="connsiteX25" fmla="*/ 2825486 w 3182112"/>
              <a:gd name="connsiteY25" fmla="*/ 932688 h 3182111"/>
              <a:gd name="connsiteX26" fmla="*/ 2715768 w 3182112"/>
              <a:gd name="connsiteY26" fmla="*/ 822970 h 3182111"/>
              <a:gd name="connsiteX27" fmla="*/ 1069848 w 3182112"/>
              <a:gd name="connsiteY27" fmla="*/ 822970 h 3182111"/>
              <a:gd name="connsiteX28" fmla="*/ 960130 w 3182112"/>
              <a:gd name="connsiteY28" fmla="*/ 932688 h 3182111"/>
              <a:gd name="connsiteX29" fmla="*/ 1069848 w 3182112"/>
              <a:gd name="connsiteY29" fmla="*/ 1042406 h 3182111"/>
              <a:gd name="connsiteX30" fmla="*/ 356606 w 3182112"/>
              <a:gd name="connsiteY30" fmla="*/ 932688 h 3182111"/>
              <a:gd name="connsiteX31" fmla="*/ 576043 w 3182112"/>
              <a:gd name="connsiteY31" fmla="*/ 1152124 h 3182111"/>
              <a:gd name="connsiteX32" fmla="*/ 795518 w 3182112"/>
              <a:gd name="connsiteY32" fmla="*/ 932688 h 3182111"/>
              <a:gd name="connsiteX33" fmla="*/ 576043 w 3182112"/>
              <a:gd name="connsiteY33" fmla="*/ 713212 h 3182111"/>
              <a:gd name="connsiteX34" fmla="*/ 356606 w 3182112"/>
              <a:gd name="connsiteY34" fmla="*/ 932688 h 3182111"/>
              <a:gd name="connsiteX35" fmla="*/ 493766 w 3182112"/>
              <a:gd name="connsiteY35" fmla="*/ 932688 h 3182111"/>
              <a:gd name="connsiteX36" fmla="*/ 576043 w 3182112"/>
              <a:gd name="connsiteY36" fmla="*/ 850372 h 3182111"/>
              <a:gd name="connsiteX37" fmla="*/ 658368 w 3182112"/>
              <a:gd name="connsiteY37" fmla="*/ 932688 h 3182111"/>
              <a:gd name="connsiteX38" fmla="*/ 576043 w 3182112"/>
              <a:gd name="connsiteY38" fmla="*/ 1014964 h 3182111"/>
              <a:gd name="connsiteX39" fmla="*/ 493766 w 3182112"/>
              <a:gd name="connsiteY39" fmla="*/ 932688 h 3182111"/>
              <a:gd name="connsiteX40" fmla="*/ 356606 w 3182112"/>
              <a:gd name="connsiteY40" fmla="*/ 1591046 h 3182111"/>
              <a:gd name="connsiteX41" fmla="*/ 576043 w 3182112"/>
              <a:gd name="connsiteY41" fmla="*/ 1810483 h 3182111"/>
              <a:gd name="connsiteX42" fmla="*/ 795518 w 3182112"/>
              <a:gd name="connsiteY42" fmla="*/ 1591046 h 3182111"/>
              <a:gd name="connsiteX43" fmla="*/ 576043 w 3182112"/>
              <a:gd name="connsiteY43" fmla="*/ 1371610 h 3182111"/>
              <a:gd name="connsiteX44" fmla="*/ 356606 w 3182112"/>
              <a:gd name="connsiteY44" fmla="*/ 1591046 h 3182111"/>
              <a:gd name="connsiteX45" fmla="*/ 493766 w 3182112"/>
              <a:gd name="connsiteY45" fmla="*/ 1591046 h 3182111"/>
              <a:gd name="connsiteX46" fmla="*/ 576043 w 3182112"/>
              <a:gd name="connsiteY46" fmla="*/ 1508770 h 3182111"/>
              <a:gd name="connsiteX47" fmla="*/ 658368 w 3182112"/>
              <a:gd name="connsiteY47" fmla="*/ 1591046 h 3182111"/>
              <a:gd name="connsiteX48" fmla="*/ 576043 w 3182112"/>
              <a:gd name="connsiteY48" fmla="*/ 1673323 h 3182111"/>
              <a:gd name="connsiteX49" fmla="*/ 493766 w 3182112"/>
              <a:gd name="connsiteY49" fmla="*/ 1591046 h 3182111"/>
              <a:gd name="connsiteX50" fmla="*/ 356606 w 3182112"/>
              <a:gd name="connsiteY50" fmla="*/ 2249405 h 3182111"/>
              <a:gd name="connsiteX51" fmla="*/ 576043 w 3182112"/>
              <a:gd name="connsiteY51" fmla="*/ 2468880 h 3182111"/>
              <a:gd name="connsiteX52" fmla="*/ 795518 w 3182112"/>
              <a:gd name="connsiteY52" fmla="*/ 2249405 h 3182111"/>
              <a:gd name="connsiteX53" fmla="*/ 576043 w 3182112"/>
              <a:gd name="connsiteY53" fmla="*/ 2029968 h 3182111"/>
              <a:gd name="connsiteX54" fmla="*/ 356606 w 3182112"/>
              <a:gd name="connsiteY54" fmla="*/ 2249405 h 3182111"/>
              <a:gd name="connsiteX55" fmla="*/ 493766 w 3182112"/>
              <a:gd name="connsiteY55" fmla="*/ 2249405 h 3182111"/>
              <a:gd name="connsiteX56" fmla="*/ 576043 w 3182112"/>
              <a:gd name="connsiteY56" fmla="*/ 2167128 h 3182111"/>
              <a:gd name="connsiteX57" fmla="*/ 658368 w 3182112"/>
              <a:gd name="connsiteY57" fmla="*/ 2249405 h 3182111"/>
              <a:gd name="connsiteX58" fmla="*/ 576043 w 3182112"/>
              <a:gd name="connsiteY58" fmla="*/ 2331720 h 3182111"/>
              <a:gd name="connsiteX59" fmla="*/ 493766 w 3182112"/>
              <a:gd name="connsiteY59" fmla="*/ 2249405 h 3182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3182112" h="3182111">
                <a:moveTo>
                  <a:pt x="109532" y="0"/>
                </a:moveTo>
                <a:lnTo>
                  <a:pt x="3072580" y="0"/>
                </a:lnTo>
                <a:cubicBezTo>
                  <a:pt x="3133430" y="0"/>
                  <a:pt x="3182112" y="49025"/>
                  <a:pt x="3182112" y="109532"/>
                </a:cubicBezTo>
                <a:lnTo>
                  <a:pt x="3182112" y="3072580"/>
                </a:lnTo>
                <a:cubicBezTo>
                  <a:pt x="3182112" y="3133430"/>
                  <a:pt x="3133087" y="3182112"/>
                  <a:pt x="3072580" y="3182112"/>
                </a:cubicBezTo>
                <a:lnTo>
                  <a:pt x="109532" y="3182112"/>
                </a:lnTo>
                <a:cubicBezTo>
                  <a:pt x="48682" y="3182112"/>
                  <a:pt x="0" y="3133087"/>
                  <a:pt x="0" y="3072580"/>
                </a:cubicBezTo>
                <a:lnTo>
                  <a:pt x="0" y="109532"/>
                </a:lnTo>
                <a:cubicBezTo>
                  <a:pt x="0" y="48682"/>
                  <a:pt x="49025" y="0"/>
                  <a:pt x="109532" y="0"/>
                </a:cubicBezTo>
                <a:close/>
                <a:moveTo>
                  <a:pt x="1069848" y="1700784"/>
                </a:moveTo>
                <a:lnTo>
                  <a:pt x="2715768" y="1700784"/>
                </a:lnTo>
                <a:cubicBezTo>
                  <a:pt x="2776354" y="1700784"/>
                  <a:pt x="2825486" y="1651681"/>
                  <a:pt x="2825486" y="1591066"/>
                </a:cubicBezTo>
                <a:cubicBezTo>
                  <a:pt x="2825486" y="1530451"/>
                  <a:pt x="2776344" y="1481348"/>
                  <a:pt x="2715768" y="1481348"/>
                </a:cubicBezTo>
                <a:lnTo>
                  <a:pt x="1069848" y="1481348"/>
                </a:lnTo>
                <a:cubicBezTo>
                  <a:pt x="1009223" y="1481348"/>
                  <a:pt x="960130" y="1530451"/>
                  <a:pt x="960130" y="1591066"/>
                </a:cubicBezTo>
                <a:cubicBezTo>
                  <a:pt x="960130" y="1651681"/>
                  <a:pt x="1009233" y="1700784"/>
                  <a:pt x="1069848" y="1700784"/>
                </a:cubicBezTo>
                <a:close/>
                <a:moveTo>
                  <a:pt x="1069848" y="2359142"/>
                </a:moveTo>
                <a:lnTo>
                  <a:pt x="2715768" y="2359142"/>
                </a:lnTo>
                <a:cubicBezTo>
                  <a:pt x="2776354" y="2359142"/>
                  <a:pt x="2825486" y="2310039"/>
                  <a:pt x="2825486" y="2249424"/>
                </a:cubicBezTo>
                <a:cubicBezTo>
                  <a:pt x="2825486" y="2188839"/>
                  <a:pt x="2776344" y="2139706"/>
                  <a:pt x="2715768" y="2139706"/>
                </a:cubicBezTo>
                <a:lnTo>
                  <a:pt x="1069848" y="2139706"/>
                </a:lnTo>
                <a:cubicBezTo>
                  <a:pt x="1009223" y="2139706"/>
                  <a:pt x="960130" y="2188848"/>
                  <a:pt x="960130" y="2249424"/>
                </a:cubicBezTo>
                <a:cubicBezTo>
                  <a:pt x="960130" y="2310049"/>
                  <a:pt x="1009233" y="2359142"/>
                  <a:pt x="1069848" y="2359142"/>
                </a:cubicBezTo>
                <a:close/>
                <a:moveTo>
                  <a:pt x="1069848" y="1042406"/>
                </a:moveTo>
                <a:lnTo>
                  <a:pt x="2715768" y="1042406"/>
                </a:lnTo>
                <a:cubicBezTo>
                  <a:pt x="2776354" y="1042406"/>
                  <a:pt x="2825486" y="993264"/>
                  <a:pt x="2825486" y="932688"/>
                </a:cubicBezTo>
                <a:cubicBezTo>
                  <a:pt x="2825486" y="872073"/>
                  <a:pt x="2776344" y="822970"/>
                  <a:pt x="2715768" y="822970"/>
                </a:cubicBezTo>
                <a:lnTo>
                  <a:pt x="1069848" y="822970"/>
                </a:lnTo>
                <a:cubicBezTo>
                  <a:pt x="1009223" y="822970"/>
                  <a:pt x="960130" y="872073"/>
                  <a:pt x="960130" y="932688"/>
                </a:cubicBezTo>
                <a:cubicBezTo>
                  <a:pt x="960130" y="993274"/>
                  <a:pt x="1009233" y="1042406"/>
                  <a:pt x="1069848" y="1042406"/>
                </a:cubicBezTo>
                <a:close/>
                <a:moveTo>
                  <a:pt x="356606" y="932688"/>
                </a:moveTo>
                <a:cubicBezTo>
                  <a:pt x="356606" y="1053624"/>
                  <a:pt x="454842" y="1152124"/>
                  <a:pt x="576043" y="1152124"/>
                </a:cubicBezTo>
                <a:cubicBezTo>
                  <a:pt x="697018" y="1152124"/>
                  <a:pt x="795518" y="1053889"/>
                  <a:pt x="795518" y="932688"/>
                </a:cubicBezTo>
                <a:cubicBezTo>
                  <a:pt x="795518" y="811713"/>
                  <a:pt x="697243" y="713212"/>
                  <a:pt x="576043" y="713212"/>
                </a:cubicBezTo>
                <a:cubicBezTo>
                  <a:pt x="455107" y="713212"/>
                  <a:pt x="356606" y="811488"/>
                  <a:pt x="356606" y="932688"/>
                </a:cubicBezTo>
                <a:close/>
                <a:moveTo>
                  <a:pt x="493766" y="932688"/>
                </a:moveTo>
                <a:cubicBezTo>
                  <a:pt x="493766" y="887337"/>
                  <a:pt x="530731" y="850372"/>
                  <a:pt x="576043" y="850372"/>
                </a:cubicBezTo>
                <a:cubicBezTo>
                  <a:pt x="621394" y="850372"/>
                  <a:pt x="658368" y="887376"/>
                  <a:pt x="658368" y="932688"/>
                </a:cubicBezTo>
                <a:cubicBezTo>
                  <a:pt x="658368" y="978039"/>
                  <a:pt x="621354" y="1014964"/>
                  <a:pt x="576043" y="1014964"/>
                </a:cubicBezTo>
                <a:cubicBezTo>
                  <a:pt x="530731" y="1014964"/>
                  <a:pt x="493766" y="978000"/>
                  <a:pt x="493766" y="932688"/>
                </a:cubicBezTo>
                <a:close/>
                <a:moveTo>
                  <a:pt x="356606" y="1591046"/>
                </a:moveTo>
                <a:cubicBezTo>
                  <a:pt x="356606" y="1712021"/>
                  <a:pt x="454842" y="1810483"/>
                  <a:pt x="576043" y="1810483"/>
                </a:cubicBezTo>
                <a:cubicBezTo>
                  <a:pt x="697018" y="1810483"/>
                  <a:pt x="795518" y="1712247"/>
                  <a:pt x="795518" y="1591046"/>
                </a:cubicBezTo>
                <a:cubicBezTo>
                  <a:pt x="795518" y="1470071"/>
                  <a:pt x="697243" y="1371610"/>
                  <a:pt x="576043" y="1371610"/>
                </a:cubicBezTo>
                <a:cubicBezTo>
                  <a:pt x="455107" y="1371610"/>
                  <a:pt x="356606" y="1469846"/>
                  <a:pt x="356606" y="1591046"/>
                </a:cubicBezTo>
                <a:close/>
                <a:moveTo>
                  <a:pt x="493766" y="1591046"/>
                </a:moveTo>
                <a:cubicBezTo>
                  <a:pt x="493766" y="1545695"/>
                  <a:pt x="530731" y="1508770"/>
                  <a:pt x="576043" y="1508770"/>
                </a:cubicBezTo>
                <a:cubicBezTo>
                  <a:pt x="621394" y="1508770"/>
                  <a:pt x="658368" y="1545734"/>
                  <a:pt x="658368" y="1591046"/>
                </a:cubicBezTo>
                <a:cubicBezTo>
                  <a:pt x="658368" y="1636397"/>
                  <a:pt x="621354" y="1673323"/>
                  <a:pt x="576043" y="1673323"/>
                </a:cubicBezTo>
                <a:cubicBezTo>
                  <a:pt x="530731" y="1673323"/>
                  <a:pt x="493766" y="1636358"/>
                  <a:pt x="493766" y="1591046"/>
                </a:cubicBezTo>
                <a:close/>
                <a:moveTo>
                  <a:pt x="356606" y="2249405"/>
                </a:moveTo>
                <a:cubicBezTo>
                  <a:pt x="356606" y="2370380"/>
                  <a:pt x="454842" y="2468880"/>
                  <a:pt x="576043" y="2468880"/>
                </a:cubicBezTo>
                <a:cubicBezTo>
                  <a:pt x="697018" y="2468880"/>
                  <a:pt x="795518" y="2370605"/>
                  <a:pt x="795518" y="2249405"/>
                </a:cubicBezTo>
                <a:cubicBezTo>
                  <a:pt x="795518" y="2128469"/>
                  <a:pt x="697243" y="2029968"/>
                  <a:pt x="576043" y="2029968"/>
                </a:cubicBezTo>
                <a:cubicBezTo>
                  <a:pt x="455107" y="2029968"/>
                  <a:pt x="356606" y="2128204"/>
                  <a:pt x="356606" y="2249405"/>
                </a:cubicBezTo>
                <a:close/>
                <a:moveTo>
                  <a:pt x="493766" y="2249405"/>
                </a:moveTo>
                <a:cubicBezTo>
                  <a:pt x="493766" y="2204054"/>
                  <a:pt x="530731" y="2167128"/>
                  <a:pt x="576043" y="2167128"/>
                </a:cubicBezTo>
                <a:cubicBezTo>
                  <a:pt x="621394" y="2167128"/>
                  <a:pt x="658368" y="2204093"/>
                  <a:pt x="658368" y="2249405"/>
                </a:cubicBezTo>
                <a:cubicBezTo>
                  <a:pt x="658368" y="2294755"/>
                  <a:pt x="621354" y="2331720"/>
                  <a:pt x="576043" y="2331720"/>
                </a:cubicBezTo>
                <a:cubicBezTo>
                  <a:pt x="530731" y="2331720"/>
                  <a:pt x="493766" y="2294716"/>
                  <a:pt x="493766" y="2249405"/>
                </a:cubicBezTo>
                <a:close/>
              </a:path>
            </a:pathLst>
          </a:custGeom>
          <a:solidFill>
            <a:srgbClr val="FFFFFF"/>
          </a:solidFill>
          <a:ln w="97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Oval 18">
            <a:hlinkClick r:id="" action="ppaction://noaction"/>
            <a:extLst>
              <a:ext uri="{FF2B5EF4-FFF2-40B4-BE49-F238E27FC236}">
                <a16:creationId xmlns:a16="http://schemas.microsoft.com/office/drawing/2014/main" id="{A9639F63-4028-9BCE-91F3-12D3526E6C63}"/>
              </a:ext>
            </a:extLst>
          </p:cNvPr>
          <p:cNvSpPr/>
          <p:nvPr/>
        </p:nvSpPr>
        <p:spPr>
          <a:xfrm flipH="1" flipV="1">
            <a:off x="11337736" y="127008"/>
            <a:ext cx="310896" cy="310896"/>
          </a:xfrm>
          <a:prstGeom prst="ellipse">
            <a:avLst/>
          </a:prstGeom>
          <a:noFill/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Oval 19">
            <a:hlinkClick r:id="rId3" action="ppaction://hlinksldjump"/>
            <a:extLst>
              <a:ext uri="{FF2B5EF4-FFF2-40B4-BE49-F238E27FC236}">
                <a16:creationId xmlns:a16="http://schemas.microsoft.com/office/drawing/2014/main" id="{888C6C76-437C-94E6-6B9A-018769DECAA9}"/>
              </a:ext>
            </a:extLst>
          </p:cNvPr>
          <p:cNvSpPr/>
          <p:nvPr/>
        </p:nvSpPr>
        <p:spPr>
          <a:xfrm flipH="1" flipV="1">
            <a:off x="11710669" y="127008"/>
            <a:ext cx="310896" cy="310896"/>
          </a:xfrm>
          <a:prstGeom prst="ellipse">
            <a:avLst/>
          </a:prstGeom>
          <a:noFill/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18993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7345C-C065-5515-469F-62A406832C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  <a:r>
              <a:rPr lang="en-US"/>
              <a:t>/Conclusion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8B7799-BB67-51E1-46A1-1628DA9022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3102" y="2044004"/>
            <a:ext cx="10820082" cy="3675151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/>
              <a:t>Adding blinatumomab to chemotherapy improves overall survival in patients who are MRD-negative at randomization (using cutoff of 0.01%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/>
              <a:t>Blinatumomab provided the clearest overall survival benefit to patients &lt; 55 yea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/>
              <a:t>Patients with undetectable MRD (0%) had improved overall survival with blinatumomab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/>
              <a:t>Patients with MRD between undetectable (0%) and 0.01% had survival benefit with blinatumomab, but subset numbers were too small to show definitive effect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F42DFF1C-8AE8-1EF2-43E5-49111D26EC48}"/>
              </a:ext>
            </a:extLst>
          </p:cNvPr>
          <p:cNvSpPr/>
          <p:nvPr/>
        </p:nvSpPr>
        <p:spPr>
          <a:xfrm flipH="1" flipV="1">
            <a:off x="11710669" y="127008"/>
            <a:ext cx="310896" cy="310896"/>
          </a:xfrm>
          <a:prstGeom prst="ellipse">
            <a:avLst/>
          </a:prstGeom>
          <a:solidFill>
            <a:srgbClr val="0063C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DFFD50C-786C-4D21-E181-F06DE077E5D0}"/>
              </a:ext>
            </a:extLst>
          </p:cNvPr>
          <p:cNvGrpSpPr/>
          <p:nvPr/>
        </p:nvGrpSpPr>
        <p:grpSpPr>
          <a:xfrm>
            <a:off x="11766669" y="192116"/>
            <a:ext cx="198897" cy="180681"/>
            <a:chOff x="10602113" y="6516461"/>
            <a:chExt cx="200063" cy="181743"/>
          </a:xfrm>
          <a:solidFill>
            <a:srgbClr val="FFFFFF"/>
          </a:solidFill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F07FC4CB-CE7C-5137-D8EC-46D64C773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6199" y="6562955"/>
              <a:ext cx="151306" cy="135249"/>
            </a:xfrm>
            <a:custGeom>
              <a:avLst/>
              <a:gdLst>
                <a:gd name="T0" fmla="*/ 0 w 878"/>
                <a:gd name="T1" fmla="*/ 541 h 786"/>
                <a:gd name="T2" fmla="*/ 0 w 878"/>
                <a:gd name="T3" fmla="*/ 327 h 786"/>
                <a:gd name="T4" fmla="*/ 18 w 878"/>
                <a:gd name="T5" fmla="*/ 292 h 786"/>
                <a:gd name="T6" fmla="*/ 421 w 878"/>
                <a:gd name="T7" fmla="*/ 10 h 786"/>
                <a:gd name="T8" fmla="*/ 460 w 878"/>
                <a:gd name="T9" fmla="*/ 10 h 786"/>
                <a:gd name="T10" fmla="*/ 860 w 878"/>
                <a:gd name="T11" fmla="*/ 290 h 786"/>
                <a:gd name="T12" fmla="*/ 878 w 878"/>
                <a:gd name="T13" fmla="*/ 325 h 786"/>
                <a:gd name="T14" fmla="*/ 878 w 878"/>
                <a:gd name="T15" fmla="*/ 755 h 786"/>
                <a:gd name="T16" fmla="*/ 848 w 878"/>
                <a:gd name="T17" fmla="*/ 786 h 786"/>
                <a:gd name="T18" fmla="*/ 582 w 878"/>
                <a:gd name="T19" fmla="*/ 786 h 786"/>
                <a:gd name="T20" fmla="*/ 552 w 878"/>
                <a:gd name="T21" fmla="*/ 755 h 786"/>
                <a:gd name="T22" fmla="*/ 552 w 878"/>
                <a:gd name="T23" fmla="*/ 405 h 786"/>
                <a:gd name="T24" fmla="*/ 520 w 878"/>
                <a:gd name="T25" fmla="*/ 372 h 786"/>
                <a:gd name="T26" fmla="*/ 354 w 878"/>
                <a:gd name="T27" fmla="*/ 372 h 786"/>
                <a:gd name="T28" fmla="*/ 329 w 878"/>
                <a:gd name="T29" fmla="*/ 398 h 786"/>
                <a:gd name="T30" fmla="*/ 329 w 878"/>
                <a:gd name="T31" fmla="*/ 750 h 786"/>
                <a:gd name="T32" fmla="*/ 294 w 878"/>
                <a:gd name="T33" fmla="*/ 786 h 786"/>
                <a:gd name="T34" fmla="*/ 32 w 878"/>
                <a:gd name="T35" fmla="*/ 786 h 786"/>
                <a:gd name="T36" fmla="*/ 0 w 878"/>
                <a:gd name="T37" fmla="*/ 753 h 786"/>
                <a:gd name="T38" fmla="*/ 0 w 878"/>
                <a:gd name="T39" fmla="*/ 541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78" h="786">
                  <a:moveTo>
                    <a:pt x="0" y="541"/>
                  </a:moveTo>
                  <a:cubicBezTo>
                    <a:pt x="0" y="470"/>
                    <a:pt x="1" y="398"/>
                    <a:pt x="0" y="327"/>
                  </a:cubicBezTo>
                  <a:cubicBezTo>
                    <a:pt x="0" y="311"/>
                    <a:pt x="5" y="301"/>
                    <a:pt x="18" y="292"/>
                  </a:cubicBezTo>
                  <a:cubicBezTo>
                    <a:pt x="152" y="198"/>
                    <a:pt x="287" y="104"/>
                    <a:pt x="421" y="10"/>
                  </a:cubicBezTo>
                  <a:cubicBezTo>
                    <a:pt x="435" y="0"/>
                    <a:pt x="446" y="0"/>
                    <a:pt x="460" y="10"/>
                  </a:cubicBezTo>
                  <a:cubicBezTo>
                    <a:pt x="593" y="104"/>
                    <a:pt x="726" y="197"/>
                    <a:pt x="860" y="290"/>
                  </a:cubicBezTo>
                  <a:cubicBezTo>
                    <a:pt x="873" y="299"/>
                    <a:pt x="878" y="309"/>
                    <a:pt x="878" y="325"/>
                  </a:cubicBezTo>
                  <a:cubicBezTo>
                    <a:pt x="878" y="468"/>
                    <a:pt x="878" y="612"/>
                    <a:pt x="878" y="755"/>
                  </a:cubicBezTo>
                  <a:cubicBezTo>
                    <a:pt x="878" y="781"/>
                    <a:pt x="874" y="786"/>
                    <a:pt x="848" y="786"/>
                  </a:cubicBezTo>
                  <a:cubicBezTo>
                    <a:pt x="759" y="786"/>
                    <a:pt x="670" y="786"/>
                    <a:pt x="582" y="786"/>
                  </a:cubicBezTo>
                  <a:cubicBezTo>
                    <a:pt x="555" y="786"/>
                    <a:pt x="552" y="782"/>
                    <a:pt x="552" y="755"/>
                  </a:cubicBezTo>
                  <a:cubicBezTo>
                    <a:pt x="552" y="638"/>
                    <a:pt x="552" y="522"/>
                    <a:pt x="552" y="405"/>
                  </a:cubicBezTo>
                  <a:cubicBezTo>
                    <a:pt x="552" y="373"/>
                    <a:pt x="552" y="372"/>
                    <a:pt x="520" y="372"/>
                  </a:cubicBezTo>
                  <a:cubicBezTo>
                    <a:pt x="465" y="372"/>
                    <a:pt x="409" y="373"/>
                    <a:pt x="354" y="372"/>
                  </a:cubicBezTo>
                  <a:cubicBezTo>
                    <a:pt x="335" y="372"/>
                    <a:pt x="328" y="379"/>
                    <a:pt x="329" y="398"/>
                  </a:cubicBezTo>
                  <a:cubicBezTo>
                    <a:pt x="329" y="515"/>
                    <a:pt x="329" y="632"/>
                    <a:pt x="329" y="750"/>
                  </a:cubicBezTo>
                  <a:cubicBezTo>
                    <a:pt x="329" y="783"/>
                    <a:pt x="327" y="786"/>
                    <a:pt x="294" y="786"/>
                  </a:cubicBezTo>
                  <a:cubicBezTo>
                    <a:pt x="207" y="786"/>
                    <a:pt x="119" y="786"/>
                    <a:pt x="32" y="786"/>
                  </a:cubicBezTo>
                  <a:cubicBezTo>
                    <a:pt x="4" y="786"/>
                    <a:pt x="0" y="781"/>
                    <a:pt x="0" y="753"/>
                  </a:cubicBezTo>
                  <a:cubicBezTo>
                    <a:pt x="0" y="682"/>
                    <a:pt x="0" y="612"/>
                    <a:pt x="0" y="5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14A121D2-530F-CC49-6134-8D8CC3CDEF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2113" y="6516461"/>
              <a:ext cx="200063" cy="93134"/>
            </a:xfrm>
            <a:custGeom>
              <a:avLst/>
              <a:gdLst>
                <a:gd name="T0" fmla="*/ 580 w 1161"/>
                <a:gd name="T1" fmla="*/ 1 h 541"/>
                <a:gd name="T2" fmla="*/ 601 w 1161"/>
                <a:gd name="T3" fmla="*/ 10 h 541"/>
                <a:gd name="T4" fmla="*/ 1141 w 1161"/>
                <a:gd name="T5" fmla="*/ 388 h 541"/>
                <a:gd name="T6" fmla="*/ 1147 w 1161"/>
                <a:gd name="T7" fmla="*/ 428 h 541"/>
                <a:gd name="T8" fmla="*/ 1085 w 1161"/>
                <a:gd name="T9" fmla="*/ 516 h 541"/>
                <a:gd name="T10" fmla="*/ 1041 w 1161"/>
                <a:gd name="T11" fmla="*/ 524 h 541"/>
                <a:gd name="T12" fmla="*/ 685 w 1161"/>
                <a:gd name="T13" fmla="*/ 274 h 541"/>
                <a:gd name="T14" fmla="*/ 600 w 1161"/>
                <a:gd name="T15" fmla="*/ 214 h 541"/>
                <a:gd name="T16" fmla="*/ 561 w 1161"/>
                <a:gd name="T17" fmla="*/ 214 h 541"/>
                <a:gd name="T18" fmla="*/ 126 w 1161"/>
                <a:gd name="T19" fmla="*/ 519 h 541"/>
                <a:gd name="T20" fmla="*/ 70 w 1161"/>
                <a:gd name="T21" fmla="*/ 508 h 541"/>
                <a:gd name="T22" fmla="*/ 12 w 1161"/>
                <a:gd name="T23" fmla="*/ 426 h 541"/>
                <a:gd name="T24" fmla="*/ 19 w 1161"/>
                <a:gd name="T25" fmla="*/ 388 h 541"/>
                <a:gd name="T26" fmla="*/ 561 w 1161"/>
                <a:gd name="T27" fmla="*/ 9 h 541"/>
                <a:gd name="T28" fmla="*/ 580 w 1161"/>
                <a:gd name="T29" fmla="*/ 1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61" h="541">
                  <a:moveTo>
                    <a:pt x="580" y="1"/>
                  </a:moveTo>
                  <a:cubicBezTo>
                    <a:pt x="589" y="1"/>
                    <a:pt x="595" y="6"/>
                    <a:pt x="601" y="10"/>
                  </a:cubicBezTo>
                  <a:cubicBezTo>
                    <a:pt x="781" y="136"/>
                    <a:pt x="961" y="262"/>
                    <a:pt x="1141" y="388"/>
                  </a:cubicBezTo>
                  <a:cubicBezTo>
                    <a:pt x="1160" y="401"/>
                    <a:pt x="1161" y="408"/>
                    <a:pt x="1147" y="428"/>
                  </a:cubicBezTo>
                  <a:cubicBezTo>
                    <a:pt x="1127" y="457"/>
                    <a:pt x="1106" y="487"/>
                    <a:pt x="1085" y="516"/>
                  </a:cubicBezTo>
                  <a:cubicBezTo>
                    <a:pt x="1070" y="538"/>
                    <a:pt x="1064" y="539"/>
                    <a:pt x="1041" y="524"/>
                  </a:cubicBezTo>
                  <a:cubicBezTo>
                    <a:pt x="922" y="440"/>
                    <a:pt x="804" y="357"/>
                    <a:pt x="685" y="274"/>
                  </a:cubicBezTo>
                  <a:cubicBezTo>
                    <a:pt x="656" y="254"/>
                    <a:pt x="627" y="235"/>
                    <a:pt x="600" y="214"/>
                  </a:cubicBezTo>
                  <a:cubicBezTo>
                    <a:pt x="586" y="203"/>
                    <a:pt x="576" y="203"/>
                    <a:pt x="561" y="214"/>
                  </a:cubicBezTo>
                  <a:cubicBezTo>
                    <a:pt x="416" y="316"/>
                    <a:pt x="271" y="417"/>
                    <a:pt x="126" y="519"/>
                  </a:cubicBezTo>
                  <a:cubicBezTo>
                    <a:pt x="94" y="541"/>
                    <a:pt x="92" y="541"/>
                    <a:pt x="70" y="508"/>
                  </a:cubicBezTo>
                  <a:cubicBezTo>
                    <a:pt x="51" y="481"/>
                    <a:pt x="31" y="454"/>
                    <a:pt x="12" y="426"/>
                  </a:cubicBezTo>
                  <a:cubicBezTo>
                    <a:pt x="0" y="408"/>
                    <a:pt x="1" y="401"/>
                    <a:pt x="19" y="388"/>
                  </a:cubicBezTo>
                  <a:cubicBezTo>
                    <a:pt x="200" y="262"/>
                    <a:pt x="380" y="135"/>
                    <a:pt x="561" y="9"/>
                  </a:cubicBezTo>
                  <a:cubicBezTo>
                    <a:pt x="567" y="5"/>
                    <a:pt x="573" y="0"/>
                    <a:pt x="58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6" name="Oval 15">
            <a:extLst>
              <a:ext uri="{FF2B5EF4-FFF2-40B4-BE49-F238E27FC236}">
                <a16:creationId xmlns:a16="http://schemas.microsoft.com/office/drawing/2014/main" id="{82EF1F70-764E-130A-1BD5-5A935EF27E70}"/>
              </a:ext>
            </a:extLst>
          </p:cNvPr>
          <p:cNvSpPr/>
          <p:nvPr/>
        </p:nvSpPr>
        <p:spPr>
          <a:xfrm flipH="1" flipV="1">
            <a:off x="11337736" y="127008"/>
            <a:ext cx="310896" cy="310896"/>
          </a:xfrm>
          <a:prstGeom prst="ellipse">
            <a:avLst/>
          </a:prstGeom>
          <a:solidFill>
            <a:srgbClr val="0063C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5795296-4453-A442-3BB2-24022E6B1647}"/>
              </a:ext>
            </a:extLst>
          </p:cNvPr>
          <p:cNvSpPr/>
          <p:nvPr/>
        </p:nvSpPr>
        <p:spPr>
          <a:xfrm>
            <a:off x="11402846" y="192117"/>
            <a:ext cx="180678" cy="180680"/>
          </a:xfrm>
          <a:custGeom>
            <a:avLst/>
            <a:gdLst>
              <a:gd name="connsiteX0" fmla="*/ 109532 w 3182112"/>
              <a:gd name="connsiteY0" fmla="*/ 0 h 3182111"/>
              <a:gd name="connsiteX1" fmla="*/ 3072580 w 3182112"/>
              <a:gd name="connsiteY1" fmla="*/ 0 h 3182111"/>
              <a:gd name="connsiteX2" fmla="*/ 3182112 w 3182112"/>
              <a:gd name="connsiteY2" fmla="*/ 109532 h 3182111"/>
              <a:gd name="connsiteX3" fmla="*/ 3182112 w 3182112"/>
              <a:gd name="connsiteY3" fmla="*/ 3072580 h 3182111"/>
              <a:gd name="connsiteX4" fmla="*/ 3072580 w 3182112"/>
              <a:gd name="connsiteY4" fmla="*/ 3182112 h 3182111"/>
              <a:gd name="connsiteX5" fmla="*/ 109532 w 3182112"/>
              <a:gd name="connsiteY5" fmla="*/ 3182112 h 3182111"/>
              <a:gd name="connsiteX6" fmla="*/ 0 w 3182112"/>
              <a:gd name="connsiteY6" fmla="*/ 3072580 h 3182111"/>
              <a:gd name="connsiteX7" fmla="*/ 0 w 3182112"/>
              <a:gd name="connsiteY7" fmla="*/ 109532 h 3182111"/>
              <a:gd name="connsiteX8" fmla="*/ 109532 w 3182112"/>
              <a:gd name="connsiteY8" fmla="*/ 0 h 3182111"/>
              <a:gd name="connsiteX9" fmla="*/ 1069848 w 3182112"/>
              <a:gd name="connsiteY9" fmla="*/ 1700784 h 3182111"/>
              <a:gd name="connsiteX10" fmla="*/ 2715768 w 3182112"/>
              <a:gd name="connsiteY10" fmla="*/ 1700784 h 3182111"/>
              <a:gd name="connsiteX11" fmla="*/ 2825486 w 3182112"/>
              <a:gd name="connsiteY11" fmla="*/ 1591066 h 3182111"/>
              <a:gd name="connsiteX12" fmla="*/ 2715768 w 3182112"/>
              <a:gd name="connsiteY12" fmla="*/ 1481348 h 3182111"/>
              <a:gd name="connsiteX13" fmla="*/ 1069848 w 3182112"/>
              <a:gd name="connsiteY13" fmla="*/ 1481348 h 3182111"/>
              <a:gd name="connsiteX14" fmla="*/ 960130 w 3182112"/>
              <a:gd name="connsiteY14" fmla="*/ 1591066 h 3182111"/>
              <a:gd name="connsiteX15" fmla="*/ 1069848 w 3182112"/>
              <a:gd name="connsiteY15" fmla="*/ 1700784 h 3182111"/>
              <a:gd name="connsiteX16" fmla="*/ 1069848 w 3182112"/>
              <a:gd name="connsiteY16" fmla="*/ 2359142 h 3182111"/>
              <a:gd name="connsiteX17" fmla="*/ 2715768 w 3182112"/>
              <a:gd name="connsiteY17" fmla="*/ 2359142 h 3182111"/>
              <a:gd name="connsiteX18" fmla="*/ 2825486 w 3182112"/>
              <a:gd name="connsiteY18" fmla="*/ 2249424 h 3182111"/>
              <a:gd name="connsiteX19" fmla="*/ 2715768 w 3182112"/>
              <a:gd name="connsiteY19" fmla="*/ 2139706 h 3182111"/>
              <a:gd name="connsiteX20" fmla="*/ 1069848 w 3182112"/>
              <a:gd name="connsiteY20" fmla="*/ 2139706 h 3182111"/>
              <a:gd name="connsiteX21" fmla="*/ 960130 w 3182112"/>
              <a:gd name="connsiteY21" fmla="*/ 2249424 h 3182111"/>
              <a:gd name="connsiteX22" fmla="*/ 1069848 w 3182112"/>
              <a:gd name="connsiteY22" fmla="*/ 2359142 h 3182111"/>
              <a:gd name="connsiteX23" fmla="*/ 1069848 w 3182112"/>
              <a:gd name="connsiteY23" fmla="*/ 1042406 h 3182111"/>
              <a:gd name="connsiteX24" fmla="*/ 2715768 w 3182112"/>
              <a:gd name="connsiteY24" fmla="*/ 1042406 h 3182111"/>
              <a:gd name="connsiteX25" fmla="*/ 2825486 w 3182112"/>
              <a:gd name="connsiteY25" fmla="*/ 932688 h 3182111"/>
              <a:gd name="connsiteX26" fmla="*/ 2715768 w 3182112"/>
              <a:gd name="connsiteY26" fmla="*/ 822970 h 3182111"/>
              <a:gd name="connsiteX27" fmla="*/ 1069848 w 3182112"/>
              <a:gd name="connsiteY27" fmla="*/ 822970 h 3182111"/>
              <a:gd name="connsiteX28" fmla="*/ 960130 w 3182112"/>
              <a:gd name="connsiteY28" fmla="*/ 932688 h 3182111"/>
              <a:gd name="connsiteX29" fmla="*/ 1069848 w 3182112"/>
              <a:gd name="connsiteY29" fmla="*/ 1042406 h 3182111"/>
              <a:gd name="connsiteX30" fmla="*/ 356606 w 3182112"/>
              <a:gd name="connsiteY30" fmla="*/ 932688 h 3182111"/>
              <a:gd name="connsiteX31" fmla="*/ 576043 w 3182112"/>
              <a:gd name="connsiteY31" fmla="*/ 1152124 h 3182111"/>
              <a:gd name="connsiteX32" fmla="*/ 795518 w 3182112"/>
              <a:gd name="connsiteY32" fmla="*/ 932688 h 3182111"/>
              <a:gd name="connsiteX33" fmla="*/ 576043 w 3182112"/>
              <a:gd name="connsiteY33" fmla="*/ 713212 h 3182111"/>
              <a:gd name="connsiteX34" fmla="*/ 356606 w 3182112"/>
              <a:gd name="connsiteY34" fmla="*/ 932688 h 3182111"/>
              <a:gd name="connsiteX35" fmla="*/ 493766 w 3182112"/>
              <a:gd name="connsiteY35" fmla="*/ 932688 h 3182111"/>
              <a:gd name="connsiteX36" fmla="*/ 576043 w 3182112"/>
              <a:gd name="connsiteY36" fmla="*/ 850372 h 3182111"/>
              <a:gd name="connsiteX37" fmla="*/ 658368 w 3182112"/>
              <a:gd name="connsiteY37" fmla="*/ 932688 h 3182111"/>
              <a:gd name="connsiteX38" fmla="*/ 576043 w 3182112"/>
              <a:gd name="connsiteY38" fmla="*/ 1014964 h 3182111"/>
              <a:gd name="connsiteX39" fmla="*/ 493766 w 3182112"/>
              <a:gd name="connsiteY39" fmla="*/ 932688 h 3182111"/>
              <a:gd name="connsiteX40" fmla="*/ 356606 w 3182112"/>
              <a:gd name="connsiteY40" fmla="*/ 1591046 h 3182111"/>
              <a:gd name="connsiteX41" fmla="*/ 576043 w 3182112"/>
              <a:gd name="connsiteY41" fmla="*/ 1810483 h 3182111"/>
              <a:gd name="connsiteX42" fmla="*/ 795518 w 3182112"/>
              <a:gd name="connsiteY42" fmla="*/ 1591046 h 3182111"/>
              <a:gd name="connsiteX43" fmla="*/ 576043 w 3182112"/>
              <a:gd name="connsiteY43" fmla="*/ 1371610 h 3182111"/>
              <a:gd name="connsiteX44" fmla="*/ 356606 w 3182112"/>
              <a:gd name="connsiteY44" fmla="*/ 1591046 h 3182111"/>
              <a:gd name="connsiteX45" fmla="*/ 493766 w 3182112"/>
              <a:gd name="connsiteY45" fmla="*/ 1591046 h 3182111"/>
              <a:gd name="connsiteX46" fmla="*/ 576043 w 3182112"/>
              <a:gd name="connsiteY46" fmla="*/ 1508770 h 3182111"/>
              <a:gd name="connsiteX47" fmla="*/ 658368 w 3182112"/>
              <a:gd name="connsiteY47" fmla="*/ 1591046 h 3182111"/>
              <a:gd name="connsiteX48" fmla="*/ 576043 w 3182112"/>
              <a:gd name="connsiteY48" fmla="*/ 1673323 h 3182111"/>
              <a:gd name="connsiteX49" fmla="*/ 493766 w 3182112"/>
              <a:gd name="connsiteY49" fmla="*/ 1591046 h 3182111"/>
              <a:gd name="connsiteX50" fmla="*/ 356606 w 3182112"/>
              <a:gd name="connsiteY50" fmla="*/ 2249405 h 3182111"/>
              <a:gd name="connsiteX51" fmla="*/ 576043 w 3182112"/>
              <a:gd name="connsiteY51" fmla="*/ 2468880 h 3182111"/>
              <a:gd name="connsiteX52" fmla="*/ 795518 w 3182112"/>
              <a:gd name="connsiteY52" fmla="*/ 2249405 h 3182111"/>
              <a:gd name="connsiteX53" fmla="*/ 576043 w 3182112"/>
              <a:gd name="connsiteY53" fmla="*/ 2029968 h 3182111"/>
              <a:gd name="connsiteX54" fmla="*/ 356606 w 3182112"/>
              <a:gd name="connsiteY54" fmla="*/ 2249405 h 3182111"/>
              <a:gd name="connsiteX55" fmla="*/ 493766 w 3182112"/>
              <a:gd name="connsiteY55" fmla="*/ 2249405 h 3182111"/>
              <a:gd name="connsiteX56" fmla="*/ 576043 w 3182112"/>
              <a:gd name="connsiteY56" fmla="*/ 2167128 h 3182111"/>
              <a:gd name="connsiteX57" fmla="*/ 658368 w 3182112"/>
              <a:gd name="connsiteY57" fmla="*/ 2249405 h 3182111"/>
              <a:gd name="connsiteX58" fmla="*/ 576043 w 3182112"/>
              <a:gd name="connsiteY58" fmla="*/ 2331720 h 3182111"/>
              <a:gd name="connsiteX59" fmla="*/ 493766 w 3182112"/>
              <a:gd name="connsiteY59" fmla="*/ 2249405 h 3182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3182112" h="3182111">
                <a:moveTo>
                  <a:pt x="109532" y="0"/>
                </a:moveTo>
                <a:lnTo>
                  <a:pt x="3072580" y="0"/>
                </a:lnTo>
                <a:cubicBezTo>
                  <a:pt x="3133430" y="0"/>
                  <a:pt x="3182112" y="49025"/>
                  <a:pt x="3182112" y="109532"/>
                </a:cubicBezTo>
                <a:lnTo>
                  <a:pt x="3182112" y="3072580"/>
                </a:lnTo>
                <a:cubicBezTo>
                  <a:pt x="3182112" y="3133430"/>
                  <a:pt x="3133087" y="3182112"/>
                  <a:pt x="3072580" y="3182112"/>
                </a:cubicBezTo>
                <a:lnTo>
                  <a:pt x="109532" y="3182112"/>
                </a:lnTo>
                <a:cubicBezTo>
                  <a:pt x="48682" y="3182112"/>
                  <a:pt x="0" y="3133087"/>
                  <a:pt x="0" y="3072580"/>
                </a:cubicBezTo>
                <a:lnTo>
                  <a:pt x="0" y="109532"/>
                </a:lnTo>
                <a:cubicBezTo>
                  <a:pt x="0" y="48682"/>
                  <a:pt x="49025" y="0"/>
                  <a:pt x="109532" y="0"/>
                </a:cubicBezTo>
                <a:close/>
                <a:moveTo>
                  <a:pt x="1069848" y="1700784"/>
                </a:moveTo>
                <a:lnTo>
                  <a:pt x="2715768" y="1700784"/>
                </a:lnTo>
                <a:cubicBezTo>
                  <a:pt x="2776354" y="1700784"/>
                  <a:pt x="2825486" y="1651681"/>
                  <a:pt x="2825486" y="1591066"/>
                </a:cubicBezTo>
                <a:cubicBezTo>
                  <a:pt x="2825486" y="1530451"/>
                  <a:pt x="2776344" y="1481348"/>
                  <a:pt x="2715768" y="1481348"/>
                </a:cubicBezTo>
                <a:lnTo>
                  <a:pt x="1069848" y="1481348"/>
                </a:lnTo>
                <a:cubicBezTo>
                  <a:pt x="1009223" y="1481348"/>
                  <a:pt x="960130" y="1530451"/>
                  <a:pt x="960130" y="1591066"/>
                </a:cubicBezTo>
                <a:cubicBezTo>
                  <a:pt x="960130" y="1651681"/>
                  <a:pt x="1009233" y="1700784"/>
                  <a:pt x="1069848" y="1700784"/>
                </a:cubicBezTo>
                <a:close/>
                <a:moveTo>
                  <a:pt x="1069848" y="2359142"/>
                </a:moveTo>
                <a:lnTo>
                  <a:pt x="2715768" y="2359142"/>
                </a:lnTo>
                <a:cubicBezTo>
                  <a:pt x="2776354" y="2359142"/>
                  <a:pt x="2825486" y="2310039"/>
                  <a:pt x="2825486" y="2249424"/>
                </a:cubicBezTo>
                <a:cubicBezTo>
                  <a:pt x="2825486" y="2188839"/>
                  <a:pt x="2776344" y="2139706"/>
                  <a:pt x="2715768" y="2139706"/>
                </a:cubicBezTo>
                <a:lnTo>
                  <a:pt x="1069848" y="2139706"/>
                </a:lnTo>
                <a:cubicBezTo>
                  <a:pt x="1009223" y="2139706"/>
                  <a:pt x="960130" y="2188848"/>
                  <a:pt x="960130" y="2249424"/>
                </a:cubicBezTo>
                <a:cubicBezTo>
                  <a:pt x="960130" y="2310049"/>
                  <a:pt x="1009233" y="2359142"/>
                  <a:pt x="1069848" y="2359142"/>
                </a:cubicBezTo>
                <a:close/>
                <a:moveTo>
                  <a:pt x="1069848" y="1042406"/>
                </a:moveTo>
                <a:lnTo>
                  <a:pt x="2715768" y="1042406"/>
                </a:lnTo>
                <a:cubicBezTo>
                  <a:pt x="2776354" y="1042406"/>
                  <a:pt x="2825486" y="993264"/>
                  <a:pt x="2825486" y="932688"/>
                </a:cubicBezTo>
                <a:cubicBezTo>
                  <a:pt x="2825486" y="872073"/>
                  <a:pt x="2776344" y="822970"/>
                  <a:pt x="2715768" y="822970"/>
                </a:cubicBezTo>
                <a:lnTo>
                  <a:pt x="1069848" y="822970"/>
                </a:lnTo>
                <a:cubicBezTo>
                  <a:pt x="1009223" y="822970"/>
                  <a:pt x="960130" y="872073"/>
                  <a:pt x="960130" y="932688"/>
                </a:cubicBezTo>
                <a:cubicBezTo>
                  <a:pt x="960130" y="993274"/>
                  <a:pt x="1009233" y="1042406"/>
                  <a:pt x="1069848" y="1042406"/>
                </a:cubicBezTo>
                <a:close/>
                <a:moveTo>
                  <a:pt x="356606" y="932688"/>
                </a:moveTo>
                <a:cubicBezTo>
                  <a:pt x="356606" y="1053624"/>
                  <a:pt x="454842" y="1152124"/>
                  <a:pt x="576043" y="1152124"/>
                </a:cubicBezTo>
                <a:cubicBezTo>
                  <a:pt x="697018" y="1152124"/>
                  <a:pt x="795518" y="1053889"/>
                  <a:pt x="795518" y="932688"/>
                </a:cubicBezTo>
                <a:cubicBezTo>
                  <a:pt x="795518" y="811713"/>
                  <a:pt x="697243" y="713212"/>
                  <a:pt x="576043" y="713212"/>
                </a:cubicBezTo>
                <a:cubicBezTo>
                  <a:pt x="455107" y="713212"/>
                  <a:pt x="356606" y="811488"/>
                  <a:pt x="356606" y="932688"/>
                </a:cubicBezTo>
                <a:close/>
                <a:moveTo>
                  <a:pt x="493766" y="932688"/>
                </a:moveTo>
                <a:cubicBezTo>
                  <a:pt x="493766" y="887337"/>
                  <a:pt x="530731" y="850372"/>
                  <a:pt x="576043" y="850372"/>
                </a:cubicBezTo>
                <a:cubicBezTo>
                  <a:pt x="621394" y="850372"/>
                  <a:pt x="658368" y="887376"/>
                  <a:pt x="658368" y="932688"/>
                </a:cubicBezTo>
                <a:cubicBezTo>
                  <a:pt x="658368" y="978039"/>
                  <a:pt x="621354" y="1014964"/>
                  <a:pt x="576043" y="1014964"/>
                </a:cubicBezTo>
                <a:cubicBezTo>
                  <a:pt x="530731" y="1014964"/>
                  <a:pt x="493766" y="978000"/>
                  <a:pt x="493766" y="932688"/>
                </a:cubicBezTo>
                <a:close/>
                <a:moveTo>
                  <a:pt x="356606" y="1591046"/>
                </a:moveTo>
                <a:cubicBezTo>
                  <a:pt x="356606" y="1712021"/>
                  <a:pt x="454842" y="1810483"/>
                  <a:pt x="576043" y="1810483"/>
                </a:cubicBezTo>
                <a:cubicBezTo>
                  <a:pt x="697018" y="1810483"/>
                  <a:pt x="795518" y="1712247"/>
                  <a:pt x="795518" y="1591046"/>
                </a:cubicBezTo>
                <a:cubicBezTo>
                  <a:pt x="795518" y="1470071"/>
                  <a:pt x="697243" y="1371610"/>
                  <a:pt x="576043" y="1371610"/>
                </a:cubicBezTo>
                <a:cubicBezTo>
                  <a:pt x="455107" y="1371610"/>
                  <a:pt x="356606" y="1469846"/>
                  <a:pt x="356606" y="1591046"/>
                </a:cubicBezTo>
                <a:close/>
                <a:moveTo>
                  <a:pt x="493766" y="1591046"/>
                </a:moveTo>
                <a:cubicBezTo>
                  <a:pt x="493766" y="1545695"/>
                  <a:pt x="530731" y="1508770"/>
                  <a:pt x="576043" y="1508770"/>
                </a:cubicBezTo>
                <a:cubicBezTo>
                  <a:pt x="621394" y="1508770"/>
                  <a:pt x="658368" y="1545734"/>
                  <a:pt x="658368" y="1591046"/>
                </a:cubicBezTo>
                <a:cubicBezTo>
                  <a:pt x="658368" y="1636397"/>
                  <a:pt x="621354" y="1673323"/>
                  <a:pt x="576043" y="1673323"/>
                </a:cubicBezTo>
                <a:cubicBezTo>
                  <a:pt x="530731" y="1673323"/>
                  <a:pt x="493766" y="1636358"/>
                  <a:pt x="493766" y="1591046"/>
                </a:cubicBezTo>
                <a:close/>
                <a:moveTo>
                  <a:pt x="356606" y="2249405"/>
                </a:moveTo>
                <a:cubicBezTo>
                  <a:pt x="356606" y="2370380"/>
                  <a:pt x="454842" y="2468880"/>
                  <a:pt x="576043" y="2468880"/>
                </a:cubicBezTo>
                <a:cubicBezTo>
                  <a:pt x="697018" y="2468880"/>
                  <a:pt x="795518" y="2370605"/>
                  <a:pt x="795518" y="2249405"/>
                </a:cubicBezTo>
                <a:cubicBezTo>
                  <a:pt x="795518" y="2128469"/>
                  <a:pt x="697243" y="2029968"/>
                  <a:pt x="576043" y="2029968"/>
                </a:cubicBezTo>
                <a:cubicBezTo>
                  <a:pt x="455107" y="2029968"/>
                  <a:pt x="356606" y="2128204"/>
                  <a:pt x="356606" y="2249405"/>
                </a:cubicBezTo>
                <a:close/>
                <a:moveTo>
                  <a:pt x="493766" y="2249405"/>
                </a:moveTo>
                <a:cubicBezTo>
                  <a:pt x="493766" y="2204054"/>
                  <a:pt x="530731" y="2167128"/>
                  <a:pt x="576043" y="2167128"/>
                </a:cubicBezTo>
                <a:cubicBezTo>
                  <a:pt x="621394" y="2167128"/>
                  <a:pt x="658368" y="2204093"/>
                  <a:pt x="658368" y="2249405"/>
                </a:cubicBezTo>
                <a:cubicBezTo>
                  <a:pt x="658368" y="2294755"/>
                  <a:pt x="621354" y="2331720"/>
                  <a:pt x="576043" y="2331720"/>
                </a:cubicBezTo>
                <a:cubicBezTo>
                  <a:pt x="530731" y="2331720"/>
                  <a:pt x="493766" y="2294716"/>
                  <a:pt x="493766" y="2249405"/>
                </a:cubicBezTo>
                <a:close/>
              </a:path>
            </a:pathLst>
          </a:custGeom>
          <a:solidFill>
            <a:srgbClr val="FFFFFF"/>
          </a:solidFill>
          <a:ln w="97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Oval 17">
            <a:hlinkClick r:id="" action="ppaction://noaction"/>
            <a:extLst>
              <a:ext uri="{FF2B5EF4-FFF2-40B4-BE49-F238E27FC236}">
                <a16:creationId xmlns:a16="http://schemas.microsoft.com/office/drawing/2014/main" id="{95A13CB6-9337-3844-A723-75AACD72F3A7}"/>
              </a:ext>
            </a:extLst>
          </p:cNvPr>
          <p:cNvSpPr/>
          <p:nvPr/>
        </p:nvSpPr>
        <p:spPr>
          <a:xfrm flipH="1" flipV="1">
            <a:off x="11337736" y="127008"/>
            <a:ext cx="310896" cy="310896"/>
          </a:xfrm>
          <a:prstGeom prst="ellipse">
            <a:avLst/>
          </a:prstGeom>
          <a:noFill/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Oval 18">
            <a:hlinkClick r:id="rId2" action="ppaction://hlinksldjump"/>
            <a:extLst>
              <a:ext uri="{FF2B5EF4-FFF2-40B4-BE49-F238E27FC236}">
                <a16:creationId xmlns:a16="http://schemas.microsoft.com/office/drawing/2014/main" id="{D091E4D6-56CB-FF22-2815-244D7A15E67A}"/>
              </a:ext>
            </a:extLst>
          </p:cNvPr>
          <p:cNvSpPr/>
          <p:nvPr/>
        </p:nvSpPr>
        <p:spPr>
          <a:xfrm flipH="1" flipV="1">
            <a:off x="11710669" y="127008"/>
            <a:ext cx="310896" cy="310896"/>
          </a:xfrm>
          <a:prstGeom prst="ellipse">
            <a:avLst/>
          </a:prstGeom>
          <a:noFill/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33869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B5C096-22E9-4E96-BF25-40D5FF0010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313853"/>
            <a:ext cx="10645775" cy="1323110"/>
          </a:xfrm>
        </p:spPr>
        <p:txBody>
          <a:bodyPr/>
          <a:lstStyle/>
          <a:p>
            <a:r>
              <a:rPr lang="en-US" noProof="0" dirty="0"/>
              <a:t>E1910 Stud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1998F1D-7BBC-47B1-9674-A97070B426FA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365125" y="3775075"/>
            <a:ext cx="11503025" cy="1196975"/>
          </a:xfrm>
        </p:spPr>
        <p:txBody>
          <a:bodyPr lIns="0"/>
          <a:lstStyle/>
          <a:p>
            <a:pPr marL="0" indent="0">
              <a:buNone/>
            </a:pPr>
            <a:r>
              <a:rPr lang="en-US" i="1" dirty="0">
                <a:solidFill>
                  <a:schemeClr val="bg1"/>
                </a:solidFill>
              </a:rPr>
              <a:t>ECOG</a:t>
            </a:r>
            <a:r>
              <a:rPr lang="en-US" i="1" noProof="0" dirty="0">
                <a:solidFill>
                  <a:schemeClr val="bg1"/>
                </a:solidFill>
              </a:rPr>
              <a:t>-ACRIN E1910 randomized phase III national cooperative clinical trials network trial </a:t>
            </a:r>
          </a:p>
        </p:txBody>
      </p:sp>
    </p:spTree>
    <p:extLst>
      <p:ext uri="{BB962C8B-B14F-4D97-AF65-F5344CB8AC3E}">
        <p14:creationId xmlns:p14="http://schemas.microsoft.com/office/powerpoint/2010/main" val="1829440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9AB4D2-1D00-453E-8722-D96B3E72D63B}"/>
              </a:ext>
            </a:extLst>
          </p:cNvPr>
          <p:cNvSpPr txBox="1">
            <a:spLocks/>
          </p:cNvSpPr>
          <p:nvPr/>
        </p:nvSpPr>
        <p:spPr>
          <a:xfrm>
            <a:off x="416925" y="1448717"/>
            <a:ext cx="11335363" cy="2015936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2857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600" b="1" kern="1200" cap="all" spc="0" baseline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3809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all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Consolidation therapy with Blinatumomab improves overall survival in newly diagnosed adult patients with b-lineage acute lymphoblastic leukemia in measurable residual disease negative remission: Results from ecog-acrin e1910 randomized phase Iii national cooperative clinical trials network trial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33B9408-1918-4326-AF30-1D32D2141C0E}"/>
              </a:ext>
            </a:extLst>
          </p:cNvPr>
          <p:cNvSpPr txBox="1"/>
          <p:nvPr/>
        </p:nvSpPr>
        <p:spPr>
          <a:xfrm>
            <a:off x="416925" y="3352800"/>
            <a:ext cx="108585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rk R Litzow</a:t>
            </a:r>
            <a:r>
              <a:rPr kumimoji="0" lang="it-IT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Zhuoxi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un</a:t>
            </a:r>
            <a:r>
              <a:rPr kumimoji="0" lang="it-IT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Elisabeth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ietta</a:t>
            </a:r>
            <a:r>
              <a:rPr kumimoji="0" lang="it-IT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Ryan J Mattison</a:t>
            </a:r>
            <a:r>
              <a:rPr kumimoji="0" lang="it-IT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illard M Lazarus</a:t>
            </a:r>
            <a:r>
              <a:rPr kumimoji="0" lang="it-IT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</a:t>
            </a:r>
            <a:r>
              <a:rPr kumimoji="0" lang="it-IT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acob M Rowe</a:t>
            </a:r>
            <a:r>
              <a:rPr kumimoji="0" lang="it-IT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niel A Arber</a:t>
            </a:r>
            <a:r>
              <a:rPr kumimoji="0" lang="it-IT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</a:t>
            </a:r>
            <a:r>
              <a:rPr kumimoji="0" lang="it-IT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arles G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ullighan</a:t>
            </a:r>
            <a:r>
              <a:rPr kumimoji="0" lang="it-IT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</a:t>
            </a:r>
            <a:r>
              <a:rPr kumimoji="0" lang="it-IT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eryl L Willman</a:t>
            </a:r>
            <a:r>
              <a:rPr kumimoji="0" lang="it-IT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9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Yanming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Zhang</a:t>
            </a:r>
            <a:r>
              <a:rPr kumimoji="0" lang="it-IT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Matthew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ieduwilt</a:t>
            </a:r>
            <a:r>
              <a:rPr kumimoji="0" lang="it-IT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1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Michaela Liedtke</a:t>
            </a:r>
            <a:r>
              <a:rPr kumimoji="0" lang="it-IT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2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ie Bergeron</a:t>
            </a:r>
            <a:r>
              <a:rPr kumimoji="0" lang="it-IT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3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Keith W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atz</a:t>
            </a:r>
            <a:r>
              <a:rPr kumimoji="0" lang="it-IT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4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Shira Dinner</a:t>
            </a:r>
            <a:r>
              <a:rPr kumimoji="0" lang="it-IT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5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Noelle V Frey</a:t>
            </a:r>
            <a:r>
              <a:rPr kumimoji="0" lang="it-IT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6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even D Gore</a:t>
            </a:r>
            <a:r>
              <a:rPr kumimoji="0" lang="it-IT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7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havana Bhatnagar</a:t>
            </a:r>
            <a:r>
              <a:rPr kumimoji="0" lang="it-IT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8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hab L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tallah</a:t>
            </a:r>
            <a:r>
              <a:rPr kumimoji="0" lang="it-IT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9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Geoffrey L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y</a:t>
            </a:r>
            <a:r>
              <a:rPr kumimoji="0" lang="it-IT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epa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eyakumar</a:t>
            </a:r>
            <a:r>
              <a:rPr kumimoji="0" lang="it-IT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ara L Lin</a:t>
            </a:r>
            <a:r>
              <a:rPr kumimoji="0" lang="it-IT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2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chard F Little</a:t>
            </a:r>
            <a:r>
              <a:rPr kumimoji="0" lang="it-IT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3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Selina M Luger</a:t>
            </a:r>
            <a:r>
              <a:rPr kumimoji="0" lang="it-IT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4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and Martin S Tallman</a:t>
            </a:r>
            <a:r>
              <a:rPr kumimoji="0" lang="it-IT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5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218E175-D510-4294-919C-8E89E76D4EC8}"/>
              </a:ext>
            </a:extLst>
          </p:cNvPr>
          <p:cNvSpPr txBox="1"/>
          <p:nvPr/>
        </p:nvSpPr>
        <p:spPr>
          <a:xfrm>
            <a:off x="416925" y="4430018"/>
            <a:ext cx="11011598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ivision of Hematology, Mayo Clinic, Rochester, MN; 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ana-Farber Cancer Institute, Boston, MA; 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Cancer Center, Montefiore Medical Center, Bronx, NY; 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Carbone Comprehensive Cancer Center, Madison, WI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dult Hematologic Malignancies &amp; Stem Cell Transplant Section, University Hospitals Cleveland Medical Center, Shaker Heights, OH; 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epartment of Hematology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haar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Zedek Medical Center, Jerusalem, Israel; 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partment of Pathology, The University of Chicago, Chicago, IL; 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epartment of Pathology, St. Jude Children's Research Hospital, Memphis, TN; 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9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Mayo Clinic, Rochester, MN; 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epartment of Pathology and Laboratory Medicine, Cytogenetics Laboratory, Memorial Sloan Kettering Cancer Center, New York, NY; 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1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tephenson Cancer Center, University of Oklahoma Health Sciences Center, Oklahoma City, OK; 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2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epartment of Medicine, Divisions of Oncology and Hematology, Stanford University, Stanford, CA; 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3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CEMTL installation Maisonneuve-Rosemont, Montreal, QC, Canada; 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4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epartment of Medicine, Hematology-Oncology Section, Hospital of the University of Pennsylvania, Philadelphia, PA; 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5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Robert H. Lurie Comprehensive Cancer Center, Northwestern University, Chicago, IL; 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6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bramson Cancer Center, University of Pennsylvania, Narberth, PA; 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7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Cancer Therapy Evaluation Program, National Cancer Institute, Bethesda, MD; 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8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epartment of Hematology and Medical Oncology, West Virginia University Cancer Institute, Wheeling, WV; 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9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ivision of Hematology/Oncology, Medical College of Wisconsin, Milwaukee, WI; 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ivision of Oncology, Department of Medicine, Washington University School of Medicine, Saint Louis, MO; 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ivision of Hematology/Oncology, UC Irvine Medical Center, Orange, CA; 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2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University of Kansas, Westwood, KS; 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3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National Cancer Institute, Washington, DC; 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4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Cellular Therapy and Transplantation, Abramson Cancer Center of the University of Pennsylvania, Philadelphia, PA; 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5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Robert H. Lurie Comprehensive Cancer Center, Northwestern University and ECOG, Chicago, I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CFB3AD2-2B24-3507-9CBA-867200101F2F}"/>
              </a:ext>
            </a:extLst>
          </p:cNvPr>
          <p:cNvSpPr/>
          <p:nvPr/>
        </p:nvSpPr>
        <p:spPr bwMode="auto">
          <a:xfrm>
            <a:off x="6096000" y="6600305"/>
            <a:ext cx="4028902" cy="18288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421481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425035-53C9-3D4A-A125-FD9DD4F03C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</a:t>
            </a:r>
            <a:endParaRPr lang="en-N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4B39C3-D0F4-8241-9FDA-DD33D6B6E9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7654" y="1490254"/>
            <a:ext cx="10820082" cy="440120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atients with newly diagnosed acute lymphoblastic leukemia (ALL) often relapse even after achieving complete remission (CR) and minimal residual disease negative (MRD-) status after chemotherap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1910 was a phase III trial for Philadelphia-negative ALL pts 30-70 years that randomized to chemotherapy +/- blinatumomab to test whether blin improves outcomes</a:t>
            </a:r>
          </a:p>
          <a:p>
            <a:pPr marL="577406" lvl="1" indent="-285750">
              <a:buFont typeface="Arial" panose="020B0604020202020204" pitchFamily="34" charset="0"/>
              <a:buChar char="•"/>
            </a:pPr>
            <a:r>
              <a:rPr lang="en-US" dirty="0"/>
              <a:t>Subjects received 2.5 months of BFM-type induction modified from E2993/UKALLXII</a:t>
            </a:r>
          </a:p>
          <a:p>
            <a:pPr marL="577406" lvl="1" indent="-285750">
              <a:buFont typeface="Arial" panose="020B0604020202020204" pitchFamily="34" charset="0"/>
              <a:buChar char="•"/>
            </a:pPr>
            <a:r>
              <a:rPr lang="en-US" dirty="0"/>
              <a:t>Subjects who achieved CR/</a:t>
            </a:r>
            <a:r>
              <a:rPr lang="en-US" dirty="0" err="1"/>
              <a:t>CRi</a:t>
            </a:r>
            <a:r>
              <a:rPr lang="en-US" dirty="0"/>
              <a:t> received CNS intensification with high-dose methotrexate and 	</a:t>
            </a:r>
            <a:r>
              <a:rPr lang="en-US" dirty="0" err="1"/>
              <a:t>pegaspargase</a:t>
            </a:r>
            <a:r>
              <a:rPr lang="en-US" dirty="0"/>
              <a:t> </a:t>
            </a:r>
          </a:p>
          <a:p>
            <a:pPr marL="577406" lvl="1" indent="-285750">
              <a:buFont typeface="Arial" panose="020B0604020202020204" pitchFamily="34" charset="0"/>
              <a:buChar char="•"/>
            </a:pPr>
            <a:r>
              <a:rPr lang="en-US" dirty="0"/>
              <a:t>MRD was evaluated and subjects were randomized to 4 cycles of chemotherapy +/- four 28 day cycles of blinatumomab followed by 2.5 years of POMP maintenance timed from the start of intensification</a:t>
            </a:r>
          </a:p>
          <a:p>
            <a:endParaRPr lang="en-NL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6CB3015-E82B-3B39-2761-6C7A12F295E8}"/>
              </a:ext>
            </a:extLst>
          </p:cNvPr>
          <p:cNvSpPr/>
          <p:nvPr/>
        </p:nvSpPr>
        <p:spPr>
          <a:xfrm flipH="1" flipV="1">
            <a:off x="11710669" y="127008"/>
            <a:ext cx="310896" cy="310896"/>
          </a:xfrm>
          <a:prstGeom prst="ellipse">
            <a:avLst/>
          </a:prstGeom>
          <a:solidFill>
            <a:srgbClr val="0063C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27D2602-5724-88E4-7981-3509B89562C6}"/>
              </a:ext>
            </a:extLst>
          </p:cNvPr>
          <p:cNvGrpSpPr/>
          <p:nvPr/>
        </p:nvGrpSpPr>
        <p:grpSpPr>
          <a:xfrm>
            <a:off x="11766669" y="192116"/>
            <a:ext cx="198897" cy="180681"/>
            <a:chOff x="10602113" y="6516461"/>
            <a:chExt cx="200063" cy="181743"/>
          </a:xfrm>
          <a:solidFill>
            <a:srgbClr val="FFFFFF"/>
          </a:solidFill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13339B2-2F62-DE75-456E-16C2A48A9B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6199" y="6562955"/>
              <a:ext cx="151306" cy="135249"/>
            </a:xfrm>
            <a:custGeom>
              <a:avLst/>
              <a:gdLst>
                <a:gd name="T0" fmla="*/ 0 w 878"/>
                <a:gd name="T1" fmla="*/ 541 h 786"/>
                <a:gd name="T2" fmla="*/ 0 w 878"/>
                <a:gd name="T3" fmla="*/ 327 h 786"/>
                <a:gd name="T4" fmla="*/ 18 w 878"/>
                <a:gd name="T5" fmla="*/ 292 h 786"/>
                <a:gd name="T6" fmla="*/ 421 w 878"/>
                <a:gd name="T7" fmla="*/ 10 h 786"/>
                <a:gd name="T8" fmla="*/ 460 w 878"/>
                <a:gd name="T9" fmla="*/ 10 h 786"/>
                <a:gd name="T10" fmla="*/ 860 w 878"/>
                <a:gd name="T11" fmla="*/ 290 h 786"/>
                <a:gd name="T12" fmla="*/ 878 w 878"/>
                <a:gd name="T13" fmla="*/ 325 h 786"/>
                <a:gd name="T14" fmla="*/ 878 w 878"/>
                <a:gd name="T15" fmla="*/ 755 h 786"/>
                <a:gd name="T16" fmla="*/ 848 w 878"/>
                <a:gd name="T17" fmla="*/ 786 h 786"/>
                <a:gd name="T18" fmla="*/ 582 w 878"/>
                <a:gd name="T19" fmla="*/ 786 h 786"/>
                <a:gd name="T20" fmla="*/ 552 w 878"/>
                <a:gd name="T21" fmla="*/ 755 h 786"/>
                <a:gd name="T22" fmla="*/ 552 w 878"/>
                <a:gd name="T23" fmla="*/ 405 h 786"/>
                <a:gd name="T24" fmla="*/ 520 w 878"/>
                <a:gd name="T25" fmla="*/ 372 h 786"/>
                <a:gd name="T26" fmla="*/ 354 w 878"/>
                <a:gd name="T27" fmla="*/ 372 h 786"/>
                <a:gd name="T28" fmla="*/ 329 w 878"/>
                <a:gd name="T29" fmla="*/ 398 h 786"/>
                <a:gd name="T30" fmla="*/ 329 w 878"/>
                <a:gd name="T31" fmla="*/ 750 h 786"/>
                <a:gd name="T32" fmla="*/ 294 w 878"/>
                <a:gd name="T33" fmla="*/ 786 h 786"/>
                <a:gd name="T34" fmla="*/ 32 w 878"/>
                <a:gd name="T35" fmla="*/ 786 h 786"/>
                <a:gd name="T36" fmla="*/ 0 w 878"/>
                <a:gd name="T37" fmla="*/ 753 h 786"/>
                <a:gd name="T38" fmla="*/ 0 w 878"/>
                <a:gd name="T39" fmla="*/ 541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78" h="786">
                  <a:moveTo>
                    <a:pt x="0" y="541"/>
                  </a:moveTo>
                  <a:cubicBezTo>
                    <a:pt x="0" y="470"/>
                    <a:pt x="1" y="398"/>
                    <a:pt x="0" y="327"/>
                  </a:cubicBezTo>
                  <a:cubicBezTo>
                    <a:pt x="0" y="311"/>
                    <a:pt x="5" y="301"/>
                    <a:pt x="18" y="292"/>
                  </a:cubicBezTo>
                  <a:cubicBezTo>
                    <a:pt x="152" y="198"/>
                    <a:pt x="287" y="104"/>
                    <a:pt x="421" y="10"/>
                  </a:cubicBezTo>
                  <a:cubicBezTo>
                    <a:pt x="435" y="0"/>
                    <a:pt x="446" y="0"/>
                    <a:pt x="460" y="10"/>
                  </a:cubicBezTo>
                  <a:cubicBezTo>
                    <a:pt x="593" y="104"/>
                    <a:pt x="726" y="197"/>
                    <a:pt x="860" y="290"/>
                  </a:cubicBezTo>
                  <a:cubicBezTo>
                    <a:pt x="873" y="299"/>
                    <a:pt x="878" y="309"/>
                    <a:pt x="878" y="325"/>
                  </a:cubicBezTo>
                  <a:cubicBezTo>
                    <a:pt x="878" y="468"/>
                    <a:pt x="878" y="612"/>
                    <a:pt x="878" y="755"/>
                  </a:cubicBezTo>
                  <a:cubicBezTo>
                    <a:pt x="878" y="781"/>
                    <a:pt x="874" y="786"/>
                    <a:pt x="848" y="786"/>
                  </a:cubicBezTo>
                  <a:cubicBezTo>
                    <a:pt x="759" y="786"/>
                    <a:pt x="670" y="786"/>
                    <a:pt x="582" y="786"/>
                  </a:cubicBezTo>
                  <a:cubicBezTo>
                    <a:pt x="555" y="786"/>
                    <a:pt x="552" y="782"/>
                    <a:pt x="552" y="755"/>
                  </a:cubicBezTo>
                  <a:cubicBezTo>
                    <a:pt x="552" y="638"/>
                    <a:pt x="552" y="522"/>
                    <a:pt x="552" y="405"/>
                  </a:cubicBezTo>
                  <a:cubicBezTo>
                    <a:pt x="552" y="373"/>
                    <a:pt x="552" y="372"/>
                    <a:pt x="520" y="372"/>
                  </a:cubicBezTo>
                  <a:cubicBezTo>
                    <a:pt x="465" y="372"/>
                    <a:pt x="409" y="373"/>
                    <a:pt x="354" y="372"/>
                  </a:cubicBezTo>
                  <a:cubicBezTo>
                    <a:pt x="335" y="372"/>
                    <a:pt x="328" y="379"/>
                    <a:pt x="329" y="398"/>
                  </a:cubicBezTo>
                  <a:cubicBezTo>
                    <a:pt x="329" y="515"/>
                    <a:pt x="329" y="632"/>
                    <a:pt x="329" y="750"/>
                  </a:cubicBezTo>
                  <a:cubicBezTo>
                    <a:pt x="329" y="783"/>
                    <a:pt x="327" y="786"/>
                    <a:pt x="294" y="786"/>
                  </a:cubicBezTo>
                  <a:cubicBezTo>
                    <a:pt x="207" y="786"/>
                    <a:pt x="119" y="786"/>
                    <a:pt x="32" y="786"/>
                  </a:cubicBezTo>
                  <a:cubicBezTo>
                    <a:pt x="4" y="786"/>
                    <a:pt x="0" y="781"/>
                    <a:pt x="0" y="753"/>
                  </a:cubicBezTo>
                  <a:cubicBezTo>
                    <a:pt x="0" y="682"/>
                    <a:pt x="0" y="612"/>
                    <a:pt x="0" y="5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F780CE68-B2EF-C37F-7FB0-D24CD994CF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2113" y="6516461"/>
              <a:ext cx="200063" cy="93134"/>
            </a:xfrm>
            <a:custGeom>
              <a:avLst/>
              <a:gdLst>
                <a:gd name="T0" fmla="*/ 580 w 1161"/>
                <a:gd name="T1" fmla="*/ 1 h 541"/>
                <a:gd name="T2" fmla="*/ 601 w 1161"/>
                <a:gd name="T3" fmla="*/ 10 h 541"/>
                <a:gd name="T4" fmla="*/ 1141 w 1161"/>
                <a:gd name="T5" fmla="*/ 388 h 541"/>
                <a:gd name="T6" fmla="*/ 1147 w 1161"/>
                <a:gd name="T7" fmla="*/ 428 h 541"/>
                <a:gd name="T8" fmla="*/ 1085 w 1161"/>
                <a:gd name="T9" fmla="*/ 516 h 541"/>
                <a:gd name="T10" fmla="*/ 1041 w 1161"/>
                <a:gd name="T11" fmla="*/ 524 h 541"/>
                <a:gd name="T12" fmla="*/ 685 w 1161"/>
                <a:gd name="T13" fmla="*/ 274 h 541"/>
                <a:gd name="T14" fmla="*/ 600 w 1161"/>
                <a:gd name="T15" fmla="*/ 214 h 541"/>
                <a:gd name="T16" fmla="*/ 561 w 1161"/>
                <a:gd name="T17" fmla="*/ 214 h 541"/>
                <a:gd name="T18" fmla="*/ 126 w 1161"/>
                <a:gd name="T19" fmla="*/ 519 h 541"/>
                <a:gd name="T20" fmla="*/ 70 w 1161"/>
                <a:gd name="T21" fmla="*/ 508 h 541"/>
                <a:gd name="T22" fmla="*/ 12 w 1161"/>
                <a:gd name="T23" fmla="*/ 426 h 541"/>
                <a:gd name="T24" fmla="*/ 19 w 1161"/>
                <a:gd name="T25" fmla="*/ 388 h 541"/>
                <a:gd name="T26" fmla="*/ 561 w 1161"/>
                <a:gd name="T27" fmla="*/ 9 h 541"/>
                <a:gd name="T28" fmla="*/ 580 w 1161"/>
                <a:gd name="T29" fmla="*/ 1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61" h="541">
                  <a:moveTo>
                    <a:pt x="580" y="1"/>
                  </a:moveTo>
                  <a:cubicBezTo>
                    <a:pt x="589" y="1"/>
                    <a:pt x="595" y="6"/>
                    <a:pt x="601" y="10"/>
                  </a:cubicBezTo>
                  <a:cubicBezTo>
                    <a:pt x="781" y="136"/>
                    <a:pt x="961" y="262"/>
                    <a:pt x="1141" y="388"/>
                  </a:cubicBezTo>
                  <a:cubicBezTo>
                    <a:pt x="1160" y="401"/>
                    <a:pt x="1161" y="408"/>
                    <a:pt x="1147" y="428"/>
                  </a:cubicBezTo>
                  <a:cubicBezTo>
                    <a:pt x="1127" y="457"/>
                    <a:pt x="1106" y="487"/>
                    <a:pt x="1085" y="516"/>
                  </a:cubicBezTo>
                  <a:cubicBezTo>
                    <a:pt x="1070" y="538"/>
                    <a:pt x="1064" y="539"/>
                    <a:pt x="1041" y="524"/>
                  </a:cubicBezTo>
                  <a:cubicBezTo>
                    <a:pt x="922" y="440"/>
                    <a:pt x="804" y="357"/>
                    <a:pt x="685" y="274"/>
                  </a:cubicBezTo>
                  <a:cubicBezTo>
                    <a:pt x="656" y="254"/>
                    <a:pt x="627" y="235"/>
                    <a:pt x="600" y="214"/>
                  </a:cubicBezTo>
                  <a:cubicBezTo>
                    <a:pt x="586" y="203"/>
                    <a:pt x="576" y="203"/>
                    <a:pt x="561" y="214"/>
                  </a:cubicBezTo>
                  <a:cubicBezTo>
                    <a:pt x="416" y="316"/>
                    <a:pt x="271" y="417"/>
                    <a:pt x="126" y="519"/>
                  </a:cubicBezTo>
                  <a:cubicBezTo>
                    <a:pt x="94" y="541"/>
                    <a:pt x="92" y="541"/>
                    <a:pt x="70" y="508"/>
                  </a:cubicBezTo>
                  <a:cubicBezTo>
                    <a:pt x="51" y="481"/>
                    <a:pt x="31" y="454"/>
                    <a:pt x="12" y="426"/>
                  </a:cubicBezTo>
                  <a:cubicBezTo>
                    <a:pt x="0" y="408"/>
                    <a:pt x="1" y="401"/>
                    <a:pt x="19" y="388"/>
                  </a:cubicBezTo>
                  <a:cubicBezTo>
                    <a:pt x="200" y="262"/>
                    <a:pt x="380" y="135"/>
                    <a:pt x="561" y="9"/>
                  </a:cubicBezTo>
                  <a:cubicBezTo>
                    <a:pt x="567" y="5"/>
                    <a:pt x="573" y="0"/>
                    <a:pt x="58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6" name="Oval 15">
            <a:extLst>
              <a:ext uri="{FF2B5EF4-FFF2-40B4-BE49-F238E27FC236}">
                <a16:creationId xmlns:a16="http://schemas.microsoft.com/office/drawing/2014/main" id="{1A47EE18-1897-464B-8EE6-C1BC2782FFF6}"/>
              </a:ext>
            </a:extLst>
          </p:cNvPr>
          <p:cNvSpPr/>
          <p:nvPr/>
        </p:nvSpPr>
        <p:spPr>
          <a:xfrm flipH="1" flipV="1">
            <a:off x="11337736" y="127008"/>
            <a:ext cx="310896" cy="310896"/>
          </a:xfrm>
          <a:prstGeom prst="ellipse">
            <a:avLst/>
          </a:prstGeom>
          <a:solidFill>
            <a:srgbClr val="0063C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8B0BAB0-356C-0A90-F4B0-CE74500E840A}"/>
              </a:ext>
            </a:extLst>
          </p:cNvPr>
          <p:cNvSpPr/>
          <p:nvPr/>
        </p:nvSpPr>
        <p:spPr>
          <a:xfrm>
            <a:off x="11402846" y="192117"/>
            <a:ext cx="180678" cy="180680"/>
          </a:xfrm>
          <a:custGeom>
            <a:avLst/>
            <a:gdLst>
              <a:gd name="connsiteX0" fmla="*/ 109532 w 3182112"/>
              <a:gd name="connsiteY0" fmla="*/ 0 h 3182111"/>
              <a:gd name="connsiteX1" fmla="*/ 3072580 w 3182112"/>
              <a:gd name="connsiteY1" fmla="*/ 0 h 3182111"/>
              <a:gd name="connsiteX2" fmla="*/ 3182112 w 3182112"/>
              <a:gd name="connsiteY2" fmla="*/ 109532 h 3182111"/>
              <a:gd name="connsiteX3" fmla="*/ 3182112 w 3182112"/>
              <a:gd name="connsiteY3" fmla="*/ 3072580 h 3182111"/>
              <a:gd name="connsiteX4" fmla="*/ 3072580 w 3182112"/>
              <a:gd name="connsiteY4" fmla="*/ 3182112 h 3182111"/>
              <a:gd name="connsiteX5" fmla="*/ 109532 w 3182112"/>
              <a:gd name="connsiteY5" fmla="*/ 3182112 h 3182111"/>
              <a:gd name="connsiteX6" fmla="*/ 0 w 3182112"/>
              <a:gd name="connsiteY6" fmla="*/ 3072580 h 3182111"/>
              <a:gd name="connsiteX7" fmla="*/ 0 w 3182112"/>
              <a:gd name="connsiteY7" fmla="*/ 109532 h 3182111"/>
              <a:gd name="connsiteX8" fmla="*/ 109532 w 3182112"/>
              <a:gd name="connsiteY8" fmla="*/ 0 h 3182111"/>
              <a:gd name="connsiteX9" fmla="*/ 1069848 w 3182112"/>
              <a:gd name="connsiteY9" fmla="*/ 1700784 h 3182111"/>
              <a:gd name="connsiteX10" fmla="*/ 2715768 w 3182112"/>
              <a:gd name="connsiteY10" fmla="*/ 1700784 h 3182111"/>
              <a:gd name="connsiteX11" fmla="*/ 2825486 w 3182112"/>
              <a:gd name="connsiteY11" fmla="*/ 1591066 h 3182111"/>
              <a:gd name="connsiteX12" fmla="*/ 2715768 w 3182112"/>
              <a:gd name="connsiteY12" fmla="*/ 1481348 h 3182111"/>
              <a:gd name="connsiteX13" fmla="*/ 1069848 w 3182112"/>
              <a:gd name="connsiteY13" fmla="*/ 1481348 h 3182111"/>
              <a:gd name="connsiteX14" fmla="*/ 960130 w 3182112"/>
              <a:gd name="connsiteY14" fmla="*/ 1591066 h 3182111"/>
              <a:gd name="connsiteX15" fmla="*/ 1069848 w 3182112"/>
              <a:gd name="connsiteY15" fmla="*/ 1700784 h 3182111"/>
              <a:gd name="connsiteX16" fmla="*/ 1069848 w 3182112"/>
              <a:gd name="connsiteY16" fmla="*/ 2359142 h 3182111"/>
              <a:gd name="connsiteX17" fmla="*/ 2715768 w 3182112"/>
              <a:gd name="connsiteY17" fmla="*/ 2359142 h 3182111"/>
              <a:gd name="connsiteX18" fmla="*/ 2825486 w 3182112"/>
              <a:gd name="connsiteY18" fmla="*/ 2249424 h 3182111"/>
              <a:gd name="connsiteX19" fmla="*/ 2715768 w 3182112"/>
              <a:gd name="connsiteY19" fmla="*/ 2139706 h 3182111"/>
              <a:gd name="connsiteX20" fmla="*/ 1069848 w 3182112"/>
              <a:gd name="connsiteY20" fmla="*/ 2139706 h 3182111"/>
              <a:gd name="connsiteX21" fmla="*/ 960130 w 3182112"/>
              <a:gd name="connsiteY21" fmla="*/ 2249424 h 3182111"/>
              <a:gd name="connsiteX22" fmla="*/ 1069848 w 3182112"/>
              <a:gd name="connsiteY22" fmla="*/ 2359142 h 3182111"/>
              <a:gd name="connsiteX23" fmla="*/ 1069848 w 3182112"/>
              <a:gd name="connsiteY23" fmla="*/ 1042406 h 3182111"/>
              <a:gd name="connsiteX24" fmla="*/ 2715768 w 3182112"/>
              <a:gd name="connsiteY24" fmla="*/ 1042406 h 3182111"/>
              <a:gd name="connsiteX25" fmla="*/ 2825486 w 3182112"/>
              <a:gd name="connsiteY25" fmla="*/ 932688 h 3182111"/>
              <a:gd name="connsiteX26" fmla="*/ 2715768 w 3182112"/>
              <a:gd name="connsiteY26" fmla="*/ 822970 h 3182111"/>
              <a:gd name="connsiteX27" fmla="*/ 1069848 w 3182112"/>
              <a:gd name="connsiteY27" fmla="*/ 822970 h 3182111"/>
              <a:gd name="connsiteX28" fmla="*/ 960130 w 3182112"/>
              <a:gd name="connsiteY28" fmla="*/ 932688 h 3182111"/>
              <a:gd name="connsiteX29" fmla="*/ 1069848 w 3182112"/>
              <a:gd name="connsiteY29" fmla="*/ 1042406 h 3182111"/>
              <a:gd name="connsiteX30" fmla="*/ 356606 w 3182112"/>
              <a:gd name="connsiteY30" fmla="*/ 932688 h 3182111"/>
              <a:gd name="connsiteX31" fmla="*/ 576043 w 3182112"/>
              <a:gd name="connsiteY31" fmla="*/ 1152124 h 3182111"/>
              <a:gd name="connsiteX32" fmla="*/ 795518 w 3182112"/>
              <a:gd name="connsiteY32" fmla="*/ 932688 h 3182111"/>
              <a:gd name="connsiteX33" fmla="*/ 576043 w 3182112"/>
              <a:gd name="connsiteY33" fmla="*/ 713212 h 3182111"/>
              <a:gd name="connsiteX34" fmla="*/ 356606 w 3182112"/>
              <a:gd name="connsiteY34" fmla="*/ 932688 h 3182111"/>
              <a:gd name="connsiteX35" fmla="*/ 493766 w 3182112"/>
              <a:gd name="connsiteY35" fmla="*/ 932688 h 3182111"/>
              <a:gd name="connsiteX36" fmla="*/ 576043 w 3182112"/>
              <a:gd name="connsiteY36" fmla="*/ 850372 h 3182111"/>
              <a:gd name="connsiteX37" fmla="*/ 658368 w 3182112"/>
              <a:gd name="connsiteY37" fmla="*/ 932688 h 3182111"/>
              <a:gd name="connsiteX38" fmla="*/ 576043 w 3182112"/>
              <a:gd name="connsiteY38" fmla="*/ 1014964 h 3182111"/>
              <a:gd name="connsiteX39" fmla="*/ 493766 w 3182112"/>
              <a:gd name="connsiteY39" fmla="*/ 932688 h 3182111"/>
              <a:gd name="connsiteX40" fmla="*/ 356606 w 3182112"/>
              <a:gd name="connsiteY40" fmla="*/ 1591046 h 3182111"/>
              <a:gd name="connsiteX41" fmla="*/ 576043 w 3182112"/>
              <a:gd name="connsiteY41" fmla="*/ 1810483 h 3182111"/>
              <a:gd name="connsiteX42" fmla="*/ 795518 w 3182112"/>
              <a:gd name="connsiteY42" fmla="*/ 1591046 h 3182111"/>
              <a:gd name="connsiteX43" fmla="*/ 576043 w 3182112"/>
              <a:gd name="connsiteY43" fmla="*/ 1371610 h 3182111"/>
              <a:gd name="connsiteX44" fmla="*/ 356606 w 3182112"/>
              <a:gd name="connsiteY44" fmla="*/ 1591046 h 3182111"/>
              <a:gd name="connsiteX45" fmla="*/ 493766 w 3182112"/>
              <a:gd name="connsiteY45" fmla="*/ 1591046 h 3182111"/>
              <a:gd name="connsiteX46" fmla="*/ 576043 w 3182112"/>
              <a:gd name="connsiteY46" fmla="*/ 1508770 h 3182111"/>
              <a:gd name="connsiteX47" fmla="*/ 658368 w 3182112"/>
              <a:gd name="connsiteY47" fmla="*/ 1591046 h 3182111"/>
              <a:gd name="connsiteX48" fmla="*/ 576043 w 3182112"/>
              <a:gd name="connsiteY48" fmla="*/ 1673323 h 3182111"/>
              <a:gd name="connsiteX49" fmla="*/ 493766 w 3182112"/>
              <a:gd name="connsiteY49" fmla="*/ 1591046 h 3182111"/>
              <a:gd name="connsiteX50" fmla="*/ 356606 w 3182112"/>
              <a:gd name="connsiteY50" fmla="*/ 2249405 h 3182111"/>
              <a:gd name="connsiteX51" fmla="*/ 576043 w 3182112"/>
              <a:gd name="connsiteY51" fmla="*/ 2468880 h 3182111"/>
              <a:gd name="connsiteX52" fmla="*/ 795518 w 3182112"/>
              <a:gd name="connsiteY52" fmla="*/ 2249405 h 3182111"/>
              <a:gd name="connsiteX53" fmla="*/ 576043 w 3182112"/>
              <a:gd name="connsiteY53" fmla="*/ 2029968 h 3182111"/>
              <a:gd name="connsiteX54" fmla="*/ 356606 w 3182112"/>
              <a:gd name="connsiteY54" fmla="*/ 2249405 h 3182111"/>
              <a:gd name="connsiteX55" fmla="*/ 493766 w 3182112"/>
              <a:gd name="connsiteY55" fmla="*/ 2249405 h 3182111"/>
              <a:gd name="connsiteX56" fmla="*/ 576043 w 3182112"/>
              <a:gd name="connsiteY56" fmla="*/ 2167128 h 3182111"/>
              <a:gd name="connsiteX57" fmla="*/ 658368 w 3182112"/>
              <a:gd name="connsiteY57" fmla="*/ 2249405 h 3182111"/>
              <a:gd name="connsiteX58" fmla="*/ 576043 w 3182112"/>
              <a:gd name="connsiteY58" fmla="*/ 2331720 h 3182111"/>
              <a:gd name="connsiteX59" fmla="*/ 493766 w 3182112"/>
              <a:gd name="connsiteY59" fmla="*/ 2249405 h 3182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3182112" h="3182111">
                <a:moveTo>
                  <a:pt x="109532" y="0"/>
                </a:moveTo>
                <a:lnTo>
                  <a:pt x="3072580" y="0"/>
                </a:lnTo>
                <a:cubicBezTo>
                  <a:pt x="3133430" y="0"/>
                  <a:pt x="3182112" y="49025"/>
                  <a:pt x="3182112" y="109532"/>
                </a:cubicBezTo>
                <a:lnTo>
                  <a:pt x="3182112" y="3072580"/>
                </a:lnTo>
                <a:cubicBezTo>
                  <a:pt x="3182112" y="3133430"/>
                  <a:pt x="3133087" y="3182112"/>
                  <a:pt x="3072580" y="3182112"/>
                </a:cubicBezTo>
                <a:lnTo>
                  <a:pt x="109532" y="3182112"/>
                </a:lnTo>
                <a:cubicBezTo>
                  <a:pt x="48682" y="3182112"/>
                  <a:pt x="0" y="3133087"/>
                  <a:pt x="0" y="3072580"/>
                </a:cubicBezTo>
                <a:lnTo>
                  <a:pt x="0" y="109532"/>
                </a:lnTo>
                <a:cubicBezTo>
                  <a:pt x="0" y="48682"/>
                  <a:pt x="49025" y="0"/>
                  <a:pt x="109532" y="0"/>
                </a:cubicBezTo>
                <a:close/>
                <a:moveTo>
                  <a:pt x="1069848" y="1700784"/>
                </a:moveTo>
                <a:lnTo>
                  <a:pt x="2715768" y="1700784"/>
                </a:lnTo>
                <a:cubicBezTo>
                  <a:pt x="2776354" y="1700784"/>
                  <a:pt x="2825486" y="1651681"/>
                  <a:pt x="2825486" y="1591066"/>
                </a:cubicBezTo>
                <a:cubicBezTo>
                  <a:pt x="2825486" y="1530451"/>
                  <a:pt x="2776344" y="1481348"/>
                  <a:pt x="2715768" y="1481348"/>
                </a:cubicBezTo>
                <a:lnTo>
                  <a:pt x="1069848" y="1481348"/>
                </a:lnTo>
                <a:cubicBezTo>
                  <a:pt x="1009223" y="1481348"/>
                  <a:pt x="960130" y="1530451"/>
                  <a:pt x="960130" y="1591066"/>
                </a:cubicBezTo>
                <a:cubicBezTo>
                  <a:pt x="960130" y="1651681"/>
                  <a:pt x="1009233" y="1700784"/>
                  <a:pt x="1069848" y="1700784"/>
                </a:cubicBezTo>
                <a:close/>
                <a:moveTo>
                  <a:pt x="1069848" y="2359142"/>
                </a:moveTo>
                <a:lnTo>
                  <a:pt x="2715768" y="2359142"/>
                </a:lnTo>
                <a:cubicBezTo>
                  <a:pt x="2776354" y="2359142"/>
                  <a:pt x="2825486" y="2310039"/>
                  <a:pt x="2825486" y="2249424"/>
                </a:cubicBezTo>
                <a:cubicBezTo>
                  <a:pt x="2825486" y="2188839"/>
                  <a:pt x="2776344" y="2139706"/>
                  <a:pt x="2715768" y="2139706"/>
                </a:cubicBezTo>
                <a:lnTo>
                  <a:pt x="1069848" y="2139706"/>
                </a:lnTo>
                <a:cubicBezTo>
                  <a:pt x="1009223" y="2139706"/>
                  <a:pt x="960130" y="2188848"/>
                  <a:pt x="960130" y="2249424"/>
                </a:cubicBezTo>
                <a:cubicBezTo>
                  <a:pt x="960130" y="2310049"/>
                  <a:pt x="1009233" y="2359142"/>
                  <a:pt x="1069848" y="2359142"/>
                </a:cubicBezTo>
                <a:close/>
                <a:moveTo>
                  <a:pt x="1069848" y="1042406"/>
                </a:moveTo>
                <a:lnTo>
                  <a:pt x="2715768" y="1042406"/>
                </a:lnTo>
                <a:cubicBezTo>
                  <a:pt x="2776354" y="1042406"/>
                  <a:pt x="2825486" y="993264"/>
                  <a:pt x="2825486" y="932688"/>
                </a:cubicBezTo>
                <a:cubicBezTo>
                  <a:pt x="2825486" y="872073"/>
                  <a:pt x="2776344" y="822970"/>
                  <a:pt x="2715768" y="822970"/>
                </a:cubicBezTo>
                <a:lnTo>
                  <a:pt x="1069848" y="822970"/>
                </a:lnTo>
                <a:cubicBezTo>
                  <a:pt x="1009223" y="822970"/>
                  <a:pt x="960130" y="872073"/>
                  <a:pt x="960130" y="932688"/>
                </a:cubicBezTo>
                <a:cubicBezTo>
                  <a:pt x="960130" y="993274"/>
                  <a:pt x="1009233" y="1042406"/>
                  <a:pt x="1069848" y="1042406"/>
                </a:cubicBezTo>
                <a:close/>
                <a:moveTo>
                  <a:pt x="356606" y="932688"/>
                </a:moveTo>
                <a:cubicBezTo>
                  <a:pt x="356606" y="1053624"/>
                  <a:pt x="454842" y="1152124"/>
                  <a:pt x="576043" y="1152124"/>
                </a:cubicBezTo>
                <a:cubicBezTo>
                  <a:pt x="697018" y="1152124"/>
                  <a:pt x="795518" y="1053889"/>
                  <a:pt x="795518" y="932688"/>
                </a:cubicBezTo>
                <a:cubicBezTo>
                  <a:pt x="795518" y="811713"/>
                  <a:pt x="697243" y="713212"/>
                  <a:pt x="576043" y="713212"/>
                </a:cubicBezTo>
                <a:cubicBezTo>
                  <a:pt x="455107" y="713212"/>
                  <a:pt x="356606" y="811488"/>
                  <a:pt x="356606" y="932688"/>
                </a:cubicBezTo>
                <a:close/>
                <a:moveTo>
                  <a:pt x="493766" y="932688"/>
                </a:moveTo>
                <a:cubicBezTo>
                  <a:pt x="493766" y="887337"/>
                  <a:pt x="530731" y="850372"/>
                  <a:pt x="576043" y="850372"/>
                </a:cubicBezTo>
                <a:cubicBezTo>
                  <a:pt x="621394" y="850372"/>
                  <a:pt x="658368" y="887376"/>
                  <a:pt x="658368" y="932688"/>
                </a:cubicBezTo>
                <a:cubicBezTo>
                  <a:pt x="658368" y="978039"/>
                  <a:pt x="621354" y="1014964"/>
                  <a:pt x="576043" y="1014964"/>
                </a:cubicBezTo>
                <a:cubicBezTo>
                  <a:pt x="530731" y="1014964"/>
                  <a:pt x="493766" y="978000"/>
                  <a:pt x="493766" y="932688"/>
                </a:cubicBezTo>
                <a:close/>
                <a:moveTo>
                  <a:pt x="356606" y="1591046"/>
                </a:moveTo>
                <a:cubicBezTo>
                  <a:pt x="356606" y="1712021"/>
                  <a:pt x="454842" y="1810483"/>
                  <a:pt x="576043" y="1810483"/>
                </a:cubicBezTo>
                <a:cubicBezTo>
                  <a:pt x="697018" y="1810483"/>
                  <a:pt x="795518" y="1712247"/>
                  <a:pt x="795518" y="1591046"/>
                </a:cubicBezTo>
                <a:cubicBezTo>
                  <a:pt x="795518" y="1470071"/>
                  <a:pt x="697243" y="1371610"/>
                  <a:pt x="576043" y="1371610"/>
                </a:cubicBezTo>
                <a:cubicBezTo>
                  <a:pt x="455107" y="1371610"/>
                  <a:pt x="356606" y="1469846"/>
                  <a:pt x="356606" y="1591046"/>
                </a:cubicBezTo>
                <a:close/>
                <a:moveTo>
                  <a:pt x="493766" y="1591046"/>
                </a:moveTo>
                <a:cubicBezTo>
                  <a:pt x="493766" y="1545695"/>
                  <a:pt x="530731" y="1508770"/>
                  <a:pt x="576043" y="1508770"/>
                </a:cubicBezTo>
                <a:cubicBezTo>
                  <a:pt x="621394" y="1508770"/>
                  <a:pt x="658368" y="1545734"/>
                  <a:pt x="658368" y="1591046"/>
                </a:cubicBezTo>
                <a:cubicBezTo>
                  <a:pt x="658368" y="1636397"/>
                  <a:pt x="621354" y="1673323"/>
                  <a:pt x="576043" y="1673323"/>
                </a:cubicBezTo>
                <a:cubicBezTo>
                  <a:pt x="530731" y="1673323"/>
                  <a:pt x="493766" y="1636358"/>
                  <a:pt x="493766" y="1591046"/>
                </a:cubicBezTo>
                <a:close/>
                <a:moveTo>
                  <a:pt x="356606" y="2249405"/>
                </a:moveTo>
                <a:cubicBezTo>
                  <a:pt x="356606" y="2370380"/>
                  <a:pt x="454842" y="2468880"/>
                  <a:pt x="576043" y="2468880"/>
                </a:cubicBezTo>
                <a:cubicBezTo>
                  <a:pt x="697018" y="2468880"/>
                  <a:pt x="795518" y="2370605"/>
                  <a:pt x="795518" y="2249405"/>
                </a:cubicBezTo>
                <a:cubicBezTo>
                  <a:pt x="795518" y="2128469"/>
                  <a:pt x="697243" y="2029968"/>
                  <a:pt x="576043" y="2029968"/>
                </a:cubicBezTo>
                <a:cubicBezTo>
                  <a:pt x="455107" y="2029968"/>
                  <a:pt x="356606" y="2128204"/>
                  <a:pt x="356606" y="2249405"/>
                </a:cubicBezTo>
                <a:close/>
                <a:moveTo>
                  <a:pt x="493766" y="2249405"/>
                </a:moveTo>
                <a:cubicBezTo>
                  <a:pt x="493766" y="2204054"/>
                  <a:pt x="530731" y="2167128"/>
                  <a:pt x="576043" y="2167128"/>
                </a:cubicBezTo>
                <a:cubicBezTo>
                  <a:pt x="621394" y="2167128"/>
                  <a:pt x="658368" y="2204093"/>
                  <a:pt x="658368" y="2249405"/>
                </a:cubicBezTo>
                <a:cubicBezTo>
                  <a:pt x="658368" y="2294755"/>
                  <a:pt x="621354" y="2331720"/>
                  <a:pt x="576043" y="2331720"/>
                </a:cubicBezTo>
                <a:cubicBezTo>
                  <a:pt x="530731" y="2331720"/>
                  <a:pt x="493766" y="2294716"/>
                  <a:pt x="493766" y="2249405"/>
                </a:cubicBezTo>
                <a:close/>
              </a:path>
            </a:pathLst>
          </a:custGeom>
          <a:solidFill>
            <a:srgbClr val="FFFFFF"/>
          </a:solidFill>
          <a:ln w="97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Oval 17">
            <a:hlinkClick r:id="" action="ppaction://noaction"/>
            <a:extLst>
              <a:ext uri="{FF2B5EF4-FFF2-40B4-BE49-F238E27FC236}">
                <a16:creationId xmlns:a16="http://schemas.microsoft.com/office/drawing/2014/main" id="{35072371-6458-D48D-B78D-83EBB7ED21CD}"/>
              </a:ext>
            </a:extLst>
          </p:cNvPr>
          <p:cNvSpPr/>
          <p:nvPr/>
        </p:nvSpPr>
        <p:spPr>
          <a:xfrm flipH="1" flipV="1">
            <a:off x="11337736" y="127008"/>
            <a:ext cx="310896" cy="310896"/>
          </a:xfrm>
          <a:prstGeom prst="ellipse">
            <a:avLst/>
          </a:prstGeom>
          <a:noFill/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Oval 18">
            <a:hlinkClick r:id="rId2" action="ppaction://hlinksldjump"/>
            <a:extLst>
              <a:ext uri="{FF2B5EF4-FFF2-40B4-BE49-F238E27FC236}">
                <a16:creationId xmlns:a16="http://schemas.microsoft.com/office/drawing/2014/main" id="{C61444F1-DFF3-0E91-D260-DEE6D8AFA174}"/>
              </a:ext>
            </a:extLst>
          </p:cNvPr>
          <p:cNvSpPr/>
          <p:nvPr/>
        </p:nvSpPr>
        <p:spPr>
          <a:xfrm flipH="1" flipV="1">
            <a:off x="11710669" y="127008"/>
            <a:ext cx="310896" cy="310896"/>
          </a:xfrm>
          <a:prstGeom prst="ellipse">
            <a:avLst/>
          </a:prstGeom>
          <a:noFill/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03153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2718D2-29DC-43BC-BF14-F9E5DD64B7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73087" y="85873"/>
            <a:ext cx="10820082" cy="492443"/>
          </a:xfrm>
        </p:spPr>
        <p:txBody>
          <a:bodyPr/>
          <a:lstStyle/>
          <a:p>
            <a:r>
              <a:rPr lang="en-US" dirty="0"/>
              <a:t>E1910: Randomized Phase 3 adult frontline ALL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B8430A-5003-452C-A542-C52D22AA30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6CEC8E1-CC7C-4782-A4BD-42F42F998AB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60" t="23346" r="24932" b="11272"/>
          <a:stretch/>
        </p:blipFill>
        <p:spPr>
          <a:xfrm>
            <a:off x="7764" y="729615"/>
            <a:ext cx="12176472" cy="6058934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6EE6CF7E-9A7A-4C1E-8B37-072CA0DAEBBF}"/>
              </a:ext>
            </a:extLst>
          </p:cNvPr>
          <p:cNvSpPr/>
          <p:nvPr/>
        </p:nvSpPr>
        <p:spPr>
          <a:xfrm flipH="1" flipV="1">
            <a:off x="11710669" y="127008"/>
            <a:ext cx="310896" cy="310896"/>
          </a:xfrm>
          <a:prstGeom prst="ellipse">
            <a:avLst/>
          </a:prstGeom>
          <a:solidFill>
            <a:srgbClr val="0063C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F190C0-9678-4AD7-8440-75AD0172663B}"/>
              </a:ext>
            </a:extLst>
          </p:cNvPr>
          <p:cNvGrpSpPr/>
          <p:nvPr/>
        </p:nvGrpSpPr>
        <p:grpSpPr>
          <a:xfrm>
            <a:off x="11766669" y="192116"/>
            <a:ext cx="198897" cy="180681"/>
            <a:chOff x="10602113" y="6516461"/>
            <a:chExt cx="200063" cy="181743"/>
          </a:xfrm>
          <a:solidFill>
            <a:srgbClr val="FFFFFF"/>
          </a:soli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9D5B382A-39BF-4C5B-B160-9B4C0CA27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6199" y="6562955"/>
              <a:ext cx="151306" cy="135249"/>
            </a:xfrm>
            <a:custGeom>
              <a:avLst/>
              <a:gdLst>
                <a:gd name="T0" fmla="*/ 0 w 878"/>
                <a:gd name="T1" fmla="*/ 541 h 786"/>
                <a:gd name="T2" fmla="*/ 0 w 878"/>
                <a:gd name="T3" fmla="*/ 327 h 786"/>
                <a:gd name="T4" fmla="*/ 18 w 878"/>
                <a:gd name="T5" fmla="*/ 292 h 786"/>
                <a:gd name="T6" fmla="*/ 421 w 878"/>
                <a:gd name="T7" fmla="*/ 10 h 786"/>
                <a:gd name="T8" fmla="*/ 460 w 878"/>
                <a:gd name="T9" fmla="*/ 10 h 786"/>
                <a:gd name="T10" fmla="*/ 860 w 878"/>
                <a:gd name="T11" fmla="*/ 290 h 786"/>
                <a:gd name="T12" fmla="*/ 878 w 878"/>
                <a:gd name="T13" fmla="*/ 325 h 786"/>
                <a:gd name="T14" fmla="*/ 878 w 878"/>
                <a:gd name="T15" fmla="*/ 755 h 786"/>
                <a:gd name="T16" fmla="*/ 848 w 878"/>
                <a:gd name="T17" fmla="*/ 786 h 786"/>
                <a:gd name="T18" fmla="*/ 582 w 878"/>
                <a:gd name="T19" fmla="*/ 786 h 786"/>
                <a:gd name="T20" fmla="*/ 552 w 878"/>
                <a:gd name="T21" fmla="*/ 755 h 786"/>
                <a:gd name="T22" fmla="*/ 552 w 878"/>
                <a:gd name="T23" fmla="*/ 405 h 786"/>
                <a:gd name="T24" fmla="*/ 520 w 878"/>
                <a:gd name="T25" fmla="*/ 372 h 786"/>
                <a:gd name="T26" fmla="*/ 354 w 878"/>
                <a:gd name="T27" fmla="*/ 372 h 786"/>
                <a:gd name="T28" fmla="*/ 329 w 878"/>
                <a:gd name="T29" fmla="*/ 398 h 786"/>
                <a:gd name="T30" fmla="*/ 329 w 878"/>
                <a:gd name="T31" fmla="*/ 750 h 786"/>
                <a:gd name="T32" fmla="*/ 294 w 878"/>
                <a:gd name="T33" fmla="*/ 786 h 786"/>
                <a:gd name="T34" fmla="*/ 32 w 878"/>
                <a:gd name="T35" fmla="*/ 786 h 786"/>
                <a:gd name="T36" fmla="*/ 0 w 878"/>
                <a:gd name="T37" fmla="*/ 753 h 786"/>
                <a:gd name="T38" fmla="*/ 0 w 878"/>
                <a:gd name="T39" fmla="*/ 541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78" h="786">
                  <a:moveTo>
                    <a:pt x="0" y="541"/>
                  </a:moveTo>
                  <a:cubicBezTo>
                    <a:pt x="0" y="470"/>
                    <a:pt x="1" y="398"/>
                    <a:pt x="0" y="327"/>
                  </a:cubicBezTo>
                  <a:cubicBezTo>
                    <a:pt x="0" y="311"/>
                    <a:pt x="5" y="301"/>
                    <a:pt x="18" y="292"/>
                  </a:cubicBezTo>
                  <a:cubicBezTo>
                    <a:pt x="152" y="198"/>
                    <a:pt x="287" y="104"/>
                    <a:pt x="421" y="10"/>
                  </a:cubicBezTo>
                  <a:cubicBezTo>
                    <a:pt x="435" y="0"/>
                    <a:pt x="446" y="0"/>
                    <a:pt x="460" y="10"/>
                  </a:cubicBezTo>
                  <a:cubicBezTo>
                    <a:pt x="593" y="104"/>
                    <a:pt x="726" y="197"/>
                    <a:pt x="860" y="290"/>
                  </a:cubicBezTo>
                  <a:cubicBezTo>
                    <a:pt x="873" y="299"/>
                    <a:pt x="878" y="309"/>
                    <a:pt x="878" y="325"/>
                  </a:cubicBezTo>
                  <a:cubicBezTo>
                    <a:pt x="878" y="468"/>
                    <a:pt x="878" y="612"/>
                    <a:pt x="878" y="755"/>
                  </a:cubicBezTo>
                  <a:cubicBezTo>
                    <a:pt x="878" y="781"/>
                    <a:pt x="874" y="786"/>
                    <a:pt x="848" y="786"/>
                  </a:cubicBezTo>
                  <a:cubicBezTo>
                    <a:pt x="759" y="786"/>
                    <a:pt x="670" y="786"/>
                    <a:pt x="582" y="786"/>
                  </a:cubicBezTo>
                  <a:cubicBezTo>
                    <a:pt x="555" y="786"/>
                    <a:pt x="552" y="782"/>
                    <a:pt x="552" y="755"/>
                  </a:cubicBezTo>
                  <a:cubicBezTo>
                    <a:pt x="552" y="638"/>
                    <a:pt x="552" y="522"/>
                    <a:pt x="552" y="405"/>
                  </a:cubicBezTo>
                  <a:cubicBezTo>
                    <a:pt x="552" y="373"/>
                    <a:pt x="552" y="372"/>
                    <a:pt x="520" y="372"/>
                  </a:cubicBezTo>
                  <a:cubicBezTo>
                    <a:pt x="465" y="372"/>
                    <a:pt x="409" y="373"/>
                    <a:pt x="354" y="372"/>
                  </a:cubicBezTo>
                  <a:cubicBezTo>
                    <a:pt x="335" y="372"/>
                    <a:pt x="328" y="379"/>
                    <a:pt x="329" y="398"/>
                  </a:cubicBezTo>
                  <a:cubicBezTo>
                    <a:pt x="329" y="515"/>
                    <a:pt x="329" y="632"/>
                    <a:pt x="329" y="750"/>
                  </a:cubicBezTo>
                  <a:cubicBezTo>
                    <a:pt x="329" y="783"/>
                    <a:pt x="327" y="786"/>
                    <a:pt x="294" y="786"/>
                  </a:cubicBezTo>
                  <a:cubicBezTo>
                    <a:pt x="207" y="786"/>
                    <a:pt x="119" y="786"/>
                    <a:pt x="32" y="786"/>
                  </a:cubicBezTo>
                  <a:cubicBezTo>
                    <a:pt x="4" y="786"/>
                    <a:pt x="0" y="781"/>
                    <a:pt x="0" y="753"/>
                  </a:cubicBezTo>
                  <a:cubicBezTo>
                    <a:pt x="0" y="682"/>
                    <a:pt x="0" y="612"/>
                    <a:pt x="0" y="5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F455D1A4-1C21-4F63-9A97-84A6C46F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2113" y="6516461"/>
              <a:ext cx="200063" cy="93134"/>
            </a:xfrm>
            <a:custGeom>
              <a:avLst/>
              <a:gdLst>
                <a:gd name="T0" fmla="*/ 580 w 1161"/>
                <a:gd name="T1" fmla="*/ 1 h 541"/>
                <a:gd name="T2" fmla="*/ 601 w 1161"/>
                <a:gd name="T3" fmla="*/ 10 h 541"/>
                <a:gd name="T4" fmla="*/ 1141 w 1161"/>
                <a:gd name="T5" fmla="*/ 388 h 541"/>
                <a:gd name="T6" fmla="*/ 1147 w 1161"/>
                <a:gd name="T7" fmla="*/ 428 h 541"/>
                <a:gd name="T8" fmla="*/ 1085 w 1161"/>
                <a:gd name="T9" fmla="*/ 516 h 541"/>
                <a:gd name="T10" fmla="*/ 1041 w 1161"/>
                <a:gd name="T11" fmla="*/ 524 h 541"/>
                <a:gd name="T12" fmla="*/ 685 w 1161"/>
                <a:gd name="T13" fmla="*/ 274 h 541"/>
                <a:gd name="T14" fmla="*/ 600 w 1161"/>
                <a:gd name="T15" fmla="*/ 214 h 541"/>
                <a:gd name="T16" fmla="*/ 561 w 1161"/>
                <a:gd name="T17" fmla="*/ 214 h 541"/>
                <a:gd name="T18" fmla="*/ 126 w 1161"/>
                <a:gd name="T19" fmla="*/ 519 h 541"/>
                <a:gd name="T20" fmla="*/ 70 w 1161"/>
                <a:gd name="T21" fmla="*/ 508 h 541"/>
                <a:gd name="T22" fmla="*/ 12 w 1161"/>
                <a:gd name="T23" fmla="*/ 426 h 541"/>
                <a:gd name="T24" fmla="*/ 19 w 1161"/>
                <a:gd name="T25" fmla="*/ 388 h 541"/>
                <a:gd name="T26" fmla="*/ 561 w 1161"/>
                <a:gd name="T27" fmla="*/ 9 h 541"/>
                <a:gd name="T28" fmla="*/ 580 w 1161"/>
                <a:gd name="T29" fmla="*/ 1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61" h="541">
                  <a:moveTo>
                    <a:pt x="580" y="1"/>
                  </a:moveTo>
                  <a:cubicBezTo>
                    <a:pt x="589" y="1"/>
                    <a:pt x="595" y="6"/>
                    <a:pt x="601" y="10"/>
                  </a:cubicBezTo>
                  <a:cubicBezTo>
                    <a:pt x="781" y="136"/>
                    <a:pt x="961" y="262"/>
                    <a:pt x="1141" y="388"/>
                  </a:cubicBezTo>
                  <a:cubicBezTo>
                    <a:pt x="1160" y="401"/>
                    <a:pt x="1161" y="408"/>
                    <a:pt x="1147" y="428"/>
                  </a:cubicBezTo>
                  <a:cubicBezTo>
                    <a:pt x="1127" y="457"/>
                    <a:pt x="1106" y="487"/>
                    <a:pt x="1085" y="516"/>
                  </a:cubicBezTo>
                  <a:cubicBezTo>
                    <a:pt x="1070" y="538"/>
                    <a:pt x="1064" y="539"/>
                    <a:pt x="1041" y="524"/>
                  </a:cubicBezTo>
                  <a:cubicBezTo>
                    <a:pt x="922" y="440"/>
                    <a:pt x="804" y="357"/>
                    <a:pt x="685" y="274"/>
                  </a:cubicBezTo>
                  <a:cubicBezTo>
                    <a:pt x="656" y="254"/>
                    <a:pt x="627" y="235"/>
                    <a:pt x="600" y="214"/>
                  </a:cubicBezTo>
                  <a:cubicBezTo>
                    <a:pt x="586" y="203"/>
                    <a:pt x="576" y="203"/>
                    <a:pt x="561" y="214"/>
                  </a:cubicBezTo>
                  <a:cubicBezTo>
                    <a:pt x="416" y="316"/>
                    <a:pt x="271" y="417"/>
                    <a:pt x="126" y="519"/>
                  </a:cubicBezTo>
                  <a:cubicBezTo>
                    <a:pt x="94" y="541"/>
                    <a:pt x="92" y="541"/>
                    <a:pt x="70" y="508"/>
                  </a:cubicBezTo>
                  <a:cubicBezTo>
                    <a:pt x="51" y="481"/>
                    <a:pt x="31" y="454"/>
                    <a:pt x="12" y="426"/>
                  </a:cubicBezTo>
                  <a:cubicBezTo>
                    <a:pt x="0" y="408"/>
                    <a:pt x="1" y="401"/>
                    <a:pt x="19" y="388"/>
                  </a:cubicBezTo>
                  <a:cubicBezTo>
                    <a:pt x="200" y="262"/>
                    <a:pt x="380" y="135"/>
                    <a:pt x="561" y="9"/>
                  </a:cubicBezTo>
                  <a:cubicBezTo>
                    <a:pt x="567" y="5"/>
                    <a:pt x="573" y="0"/>
                    <a:pt x="58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0" name="Oval 9">
            <a:extLst>
              <a:ext uri="{FF2B5EF4-FFF2-40B4-BE49-F238E27FC236}">
                <a16:creationId xmlns:a16="http://schemas.microsoft.com/office/drawing/2014/main" id="{19E5C536-1C5C-4A55-AB29-94969D84A759}"/>
              </a:ext>
            </a:extLst>
          </p:cNvPr>
          <p:cNvSpPr/>
          <p:nvPr/>
        </p:nvSpPr>
        <p:spPr>
          <a:xfrm flipH="1" flipV="1">
            <a:off x="11337736" y="127008"/>
            <a:ext cx="310896" cy="310896"/>
          </a:xfrm>
          <a:prstGeom prst="ellipse">
            <a:avLst/>
          </a:prstGeom>
          <a:solidFill>
            <a:srgbClr val="0063C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18D7732-2594-4E6A-8731-9BD6603F47FC}"/>
              </a:ext>
            </a:extLst>
          </p:cNvPr>
          <p:cNvSpPr/>
          <p:nvPr/>
        </p:nvSpPr>
        <p:spPr>
          <a:xfrm>
            <a:off x="11402846" y="192117"/>
            <a:ext cx="180678" cy="180680"/>
          </a:xfrm>
          <a:custGeom>
            <a:avLst/>
            <a:gdLst>
              <a:gd name="connsiteX0" fmla="*/ 109532 w 3182112"/>
              <a:gd name="connsiteY0" fmla="*/ 0 h 3182111"/>
              <a:gd name="connsiteX1" fmla="*/ 3072580 w 3182112"/>
              <a:gd name="connsiteY1" fmla="*/ 0 h 3182111"/>
              <a:gd name="connsiteX2" fmla="*/ 3182112 w 3182112"/>
              <a:gd name="connsiteY2" fmla="*/ 109532 h 3182111"/>
              <a:gd name="connsiteX3" fmla="*/ 3182112 w 3182112"/>
              <a:gd name="connsiteY3" fmla="*/ 3072580 h 3182111"/>
              <a:gd name="connsiteX4" fmla="*/ 3072580 w 3182112"/>
              <a:gd name="connsiteY4" fmla="*/ 3182112 h 3182111"/>
              <a:gd name="connsiteX5" fmla="*/ 109532 w 3182112"/>
              <a:gd name="connsiteY5" fmla="*/ 3182112 h 3182111"/>
              <a:gd name="connsiteX6" fmla="*/ 0 w 3182112"/>
              <a:gd name="connsiteY6" fmla="*/ 3072580 h 3182111"/>
              <a:gd name="connsiteX7" fmla="*/ 0 w 3182112"/>
              <a:gd name="connsiteY7" fmla="*/ 109532 h 3182111"/>
              <a:gd name="connsiteX8" fmla="*/ 109532 w 3182112"/>
              <a:gd name="connsiteY8" fmla="*/ 0 h 3182111"/>
              <a:gd name="connsiteX9" fmla="*/ 1069848 w 3182112"/>
              <a:gd name="connsiteY9" fmla="*/ 1700784 h 3182111"/>
              <a:gd name="connsiteX10" fmla="*/ 2715768 w 3182112"/>
              <a:gd name="connsiteY10" fmla="*/ 1700784 h 3182111"/>
              <a:gd name="connsiteX11" fmla="*/ 2825486 w 3182112"/>
              <a:gd name="connsiteY11" fmla="*/ 1591066 h 3182111"/>
              <a:gd name="connsiteX12" fmla="*/ 2715768 w 3182112"/>
              <a:gd name="connsiteY12" fmla="*/ 1481348 h 3182111"/>
              <a:gd name="connsiteX13" fmla="*/ 1069848 w 3182112"/>
              <a:gd name="connsiteY13" fmla="*/ 1481348 h 3182111"/>
              <a:gd name="connsiteX14" fmla="*/ 960130 w 3182112"/>
              <a:gd name="connsiteY14" fmla="*/ 1591066 h 3182111"/>
              <a:gd name="connsiteX15" fmla="*/ 1069848 w 3182112"/>
              <a:gd name="connsiteY15" fmla="*/ 1700784 h 3182111"/>
              <a:gd name="connsiteX16" fmla="*/ 1069848 w 3182112"/>
              <a:gd name="connsiteY16" fmla="*/ 2359142 h 3182111"/>
              <a:gd name="connsiteX17" fmla="*/ 2715768 w 3182112"/>
              <a:gd name="connsiteY17" fmla="*/ 2359142 h 3182111"/>
              <a:gd name="connsiteX18" fmla="*/ 2825486 w 3182112"/>
              <a:gd name="connsiteY18" fmla="*/ 2249424 h 3182111"/>
              <a:gd name="connsiteX19" fmla="*/ 2715768 w 3182112"/>
              <a:gd name="connsiteY19" fmla="*/ 2139706 h 3182111"/>
              <a:gd name="connsiteX20" fmla="*/ 1069848 w 3182112"/>
              <a:gd name="connsiteY20" fmla="*/ 2139706 h 3182111"/>
              <a:gd name="connsiteX21" fmla="*/ 960130 w 3182112"/>
              <a:gd name="connsiteY21" fmla="*/ 2249424 h 3182111"/>
              <a:gd name="connsiteX22" fmla="*/ 1069848 w 3182112"/>
              <a:gd name="connsiteY22" fmla="*/ 2359142 h 3182111"/>
              <a:gd name="connsiteX23" fmla="*/ 1069848 w 3182112"/>
              <a:gd name="connsiteY23" fmla="*/ 1042406 h 3182111"/>
              <a:gd name="connsiteX24" fmla="*/ 2715768 w 3182112"/>
              <a:gd name="connsiteY24" fmla="*/ 1042406 h 3182111"/>
              <a:gd name="connsiteX25" fmla="*/ 2825486 w 3182112"/>
              <a:gd name="connsiteY25" fmla="*/ 932688 h 3182111"/>
              <a:gd name="connsiteX26" fmla="*/ 2715768 w 3182112"/>
              <a:gd name="connsiteY26" fmla="*/ 822970 h 3182111"/>
              <a:gd name="connsiteX27" fmla="*/ 1069848 w 3182112"/>
              <a:gd name="connsiteY27" fmla="*/ 822970 h 3182111"/>
              <a:gd name="connsiteX28" fmla="*/ 960130 w 3182112"/>
              <a:gd name="connsiteY28" fmla="*/ 932688 h 3182111"/>
              <a:gd name="connsiteX29" fmla="*/ 1069848 w 3182112"/>
              <a:gd name="connsiteY29" fmla="*/ 1042406 h 3182111"/>
              <a:gd name="connsiteX30" fmla="*/ 356606 w 3182112"/>
              <a:gd name="connsiteY30" fmla="*/ 932688 h 3182111"/>
              <a:gd name="connsiteX31" fmla="*/ 576043 w 3182112"/>
              <a:gd name="connsiteY31" fmla="*/ 1152124 h 3182111"/>
              <a:gd name="connsiteX32" fmla="*/ 795518 w 3182112"/>
              <a:gd name="connsiteY32" fmla="*/ 932688 h 3182111"/>
              <a:gd name="connsiteX33" fmla="*/ 576043 w 3182112"/>
              <a:gd name="connsiteY33" fmla="*/ 713212 h 3182111"/>
              <a:gd name="connsiteX34" fmla="*/ 356606 w 3182112"/>
              <a:gd name="connsiteY34" fmla="*/ 932688 h 3182111"/>
              <a:gd name="connsiteX35" fmla="*/ 493766 w 3182112"/>
              <a:gd name="connsiteY35" fmla="*/ 932688 h 3182111"/>
              <a:gd name="connsiteX36" fmla="*/ 576043 w 3182112"/>
              <a:gd name="connsiteY36" fmla="*/ 850372 h 3182111"/>
              <a:gd name="connsiteX37" fmla="*/ 658368 w 3182112"/>
              <a:gd name="connsiteY37" fmla="*/ 932688 h 3182111"/>
              <a:gd name="connsiteX38" fmla="*/ 576043 w 3182112"/>
              <a:gd name="connsiteY38" fmla="*/ 1014964 h 3182111"/>
              <a:gd name="connsiteX39" fmla="*/ 493766 w 3182112"/>
              <a:gd name="connsiteY39" fmla="*/ 932688 h 3182111"/>
              <a:gd name="connsiteX40" fmla="*/ 356606 w 3182112"/>
              <a:gd name="connsiteY40" fmla="*/ 1591046 h 3182111"/>
              <a:gd name="connsiteX41" fmla="*/ 576043 w 3182112"/>
              <a:gd name="connsiteY41" fmla="*/ 1810483 h 3182111"/>
              <a:gd name="connsiteX42" fmla="*/ 795518 w 3182112"/>
              <a:gd name="connsiteY42" fmla="*/ 1591046 h 3182111"/>
              <a:gd name="connsiteX43" fmla="*/ 576043 w 3182112"/>
              <a:gd name="connsiteY43" fmla="*/ 1371610 h 3182111"/>
              <a:gd name="connsiteX44" fmla="*/ 356606 w 3182112"/>
              <a:gd name="connsiteY44" fmla="*/ 1591046 h 3182111"/>
              <a:gd name="connsiteX45" fmla="*/ 493766 w 3182112"/>
              <a:gd name="connsiteY45" fmla="*/ 1591046 h 3182111"/>
              <a:gd name="connsiteX46" fmla="*/ 576043 w 3182112"/>
              <a:gd name="connsiteY46" fmla="*/ 1508770 h 3182111"/>
              <a:gd name="connsiteX47" fmla="*/ 658368 w 3182112"/>
              <a:gd name="connsiteY47" fmla="*/ 1591046 h 3182111"/>
              <a:gd name="connsiteX48" fmla="*/ 576043 w 3182112"/>
              <a:gd name="connsiteY48" fmla="*/ 1673323 h 3182111"/>
              <a:gd name="connsiteX49" fmla="*/ 493766 w 3182112"/>
              <a:gd name="connsiteY49" fmla="*/ 1591046 h 3182111"/>
              <a:gd name="connsiteX50" fmla="*/ 356606 w 3182112"/>
              <a:gd name="connsiteY50" fmla="*/ 2249405 h 3182111"/>
              <a:gd name="connsiteX51" fmla="*/ 576043 w 3182112"/>
              <a:gd name="connsiteY51" fmla="*/ 2468880 h 3182111"/>
              <a:gd name="connsiteX52" fmla="*/ 795518 w 3182112"/>
              <a:gd name="connsiteY52" fmla="*/ 2249405 h 3182111"/>
              <a:gd name="connsiteX53" fmla="*/ 576043 w 3182112"/>
              <a:gd name="connsiteY53" fmla="*/ 2029968 h 3182111"/>
              <a:gd name="connsiteX54" fmla="*/ 356606 w 3182112"/>
              <a:gd name="connsiteY54" fmla="*/ 2249405 h 3182111"/>
              <a:gd name="connsiteX55" fmla="*/ 493766 w 3182112"/>
              <a:gd name="connsiteY55" fmla="*/ 2249405 h 3182111"/>
              <a:gd name="connsiteX56" fmla="*/ 576043 w 3182112"/>
              <a:gd name="connsiteY56" fmla="*/ 2167128 h 3182111"/>
              <a:gd name="connsiteX57" fmla="*/ 658368 w 3182112"/>
              <a:gd name="connsiteY57" fmla="*/ 2249405 h 3182111"/>
              <a:gd name="connsiteX58" fmla="*/ 576043 w 3182112"/>
              <a:gd name="connsiteY58" fmla="*/ 2331720 h 3182111"/>
              <a:gd name="connsiteX59" fmla="*/ 493766 w 3182112"/>
              <a:gd name="connsiteY59" fmla="*/ 2249405 h 3182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3182112" h="3182111">
                <a:moveTo>
                  <a:pt x="109532" y="0"/>
                </a:moveTo>
                <a:lnTo>
                  <a:pt x="3072580" y="0"/>
                </a:lnTo>
                <a:cubicBezTo>
                  <a:pt x="3133430" y="0"/>
                  <a:pt x="3182112" y="49025"/>
                  <a:pt x="3182112" y="109532"/>
                </a:cubicBezTo>
                <a:lnTo>
                  <a:pt x="3182112" y="3072580"/>
                </a:lnTo>
                <a:cubicBezTo>
                  <a:pt x="3182112" y="3133430"/>
                  <a:pt x="3133087" y="3182112"/>
                  <a:pt x="3072580" y="3182112"/>
                </a:cubicBezTo>
                <a:lnTo>
                  <a:pt x="109532" y="3182112"/>
                </a:lnTo>
                <a:cubicBezTo>
                  <a:pt x="48682" y="3182112"/>
                  <a:pt x="0" y="3133087"/>
                  <a:pt x="0" y="3072580"/>
                </a:cubicBezTo>
                <a:lnTo>
                  <a:pt x="0" y="109532"/>
                </a:lnTo>
                <a:cubicBezTo>
                  <a:pt x="0" y="48682"/>
                  <a:pt x="49025" y="0"/>
                  <a:pt x="109532" y="0"/>
                </a:cubicBezTo>
                <a:close/>
                <a:moveTo>
                  <a:pt x="1069848" y="1700784"/>
                </a:moveTo>
                <a:lnTo>
                  <a:pt x="2715768" y="1700784"/>
                </a:lnTo>
                <a:cubicBezTo>
                  <a:pt x="2776354" y="1700784"/>
                  <a:pt x="2825486" y="1651681"/>
                  <a:pt x="2825486" y="1591066"/>
                </a:cubicBezTo>
                <a:cubicBezTo>
                  <a:pt x="2825486" y="1530451"/>
                  <a:pt x="2776344" y="1481348"/>
                  <a:pt x="2715768" y="1481348"/>
                </a:cubicBezTo>
                <a:lnTo>
                  <a:pt x="1069848" y="1481348"/>
                </a:lnTo>
                <a:cubicBezTo>
                  <a:pt x="1009223" y="1481348"/>
                  <a:pt x="960130" y="1530451"/>
                  <a:pt x="960130" y="1591066"/>
                </a:cubicBezTo>
                <a:cubicBezTo>
                  <a:pt x="960130" y="1651681"/>
                  <a:pt x="1009233" y="1700784"/>
                  <a:pt x="1069848" y="1700784"/>
                </a:cubicBezTo>
                <a:close/>
                <a:moveTo>
                  <a:pt x="1069848" y="2359142"/>
                </a:moveTo>
                <a:lnTo>
                  <a:pt x="2715768" y="2359142"/>
                </a:lnTo>
                <a:cubicBezTo>
                  <a:pt x="2776354" y="2359142"/>
                  <a:pt x="2825486" y="2310039"/>
                  <a:pt x="2825486" y="2249424"/>
                </a:cubicBezTo>
                <a:cubicBezTo>
                  <a:pt x="2825486" y="2188839"/>
                  <a:pt x="2776344" y="2139706"/>
                  <a:pt x="2715768" y="2139706"/>
                </a:cubicBezTo>
                <a:lnTo>
                  <a:pt x="1069848" y="2139706"/>
                </a:lnTo>
                <a:cubicBezTo>
                  <a:pt x="1009223" y="2139706"/>
                  <a:pt x="960130" y="2188848"/>
                  <a:pt x="960130" y="2249424"/>
                </a:cubicBezTo>
                <a:cubicBezTo>
                  <a:pt x="960130" y="2310049"/>
                  <a:pt x="1009233" y="2359142"/>
                  <a:pt x="1069848" y="2359142"/>
                </a:cubicBezTo>
                <a:close/>
                <a:moveTo>
                  <a:pt x="1069848" y="1042406"/>
                </a:moveTo>
                <a:lnTo>
                  <a:pt x="2715768" y="1042406"/>
                </a:lnTo>
                <a:cubicBezTo>
                  <a:pt x="2776354" y="1042406"/>
                  <a:pt x="2825486" y="993264"/>
                  <a:pt x="2825486" y="932688"/>
                </a:cubicBezTo>
                <a:cubicBezTo>
                  <a:pt x="2825486" y="872073"/>
                  <a:pt x="2776344" y="822970"/>
                  <a:pt x="2715768" y="822970"/>
                </a:cubicBezTo>
                <a:lnTo>
                  <a:pt x="1069848" y="822970"/>
                </a:lnTo>
                <a:cubicBezTo>
                  <a:pt x="1009223" y="822970"/>
                  <a:pt x="960130" y="872073"/>
                  <a:pt x="960130" y="932688"/>
                </a:cubicBezTo>
                <a:cubicBezTo>
                  <a:pt x="960130" y="993274"/>
                  <a:pt x="1009233" y="1042406"/>
                  <a:pt x="1069848" y="1042406"/>
                </a:cubicBezTo>
                <a:close/>
                <a:moveTo>
                  <a:pt x="356606" y="932688"/>
                </a:moveTo>
                <a:cubicBezTo>
                  <a:pt x="356606" y="1053624"/>
                  <a:pt x="454842" y="1152124"/>
                  <a:pt x="576043" y="1152124"/>
                </a:cubicBezTo>
                <a:cubicBezTo>
                  <a:pt x="697018" y="1152124"/>
                  <a:pt x="795518" y="1053889"/>
                  <a:pt x="795518" y="932688"/>
                </a:cubicBezTo>
                <a:cubicBezTo>
                  <a:pt x="795518" y="811713"/>
                  <a:pt x="697243" y="713212"/>
                  <a:pt x="576043" y="713212"/>
                </a:cubicBezTo>
                <a:cubicBezTo>
                  <a:pt x="455107" y="713212"/>
                  <a:pt x="356606" y="811488"/>
                  <a:pt x="356606" y="932688"/>
                </a:cubicBezTo>
                <a:close/>
                <a:moveTo>
                  <a:pt x="493766" y="932688"/>
                </a:moveTo>
                <a:cubicBezTo>
                  <a:pt x="493766" y="887337"/>
                  <a:pt x="530731" y="850372"/>
                  <a:pt x="576043" y="850372"/>
                </a:cubicBezTo>
                <a:cubicBezTo>
                  <a:pt x="621394" y="850372"/>
                  <a:pt x="658368" y="887376"/>
                  <a:pt x="658368" y="932688"/>
                </a:cubicBezTo>
                <a:cubicBezTo>
                  <a:pt x="658368" y="978039"/>
                  <a:pt x="621354" y="1014964"/>
                  <a:pt x="576043" y="1014964"/>
                </a:cubicBezTo>
                <a:cubicBezTo>
                  <a:pt x="530731" y="1014964"/>
                  <a:pt x="493766" y="978000"/>
                  <a:pt x="493766" y="932688"/>
                </a:cubicBezTo>
                <a:close/>
                <a:moveTo>
                  <a:pt x="356606" y="1591046"/>
                </a:moveTo>
                <a:cubicBezTo>
                  <a:pt x="356606" y="1712021"/>
                  <a:pt x="454842" y="1810483"/>
                  <a:pt x="576043" y="1810483"/>
                </a:cubicBezTo>
                <a:cubicBezTo>
                  <a:pt x="697018" y="1810483"/>
                  <a:pt x="795518" y="1712247"/>
                  <a:pt x="795518" y="1591046"/>
                </a:cubicBezTo>
                <a:cubicBezTo>
                  <a:pt x="795518" y="1470071"/>
                  <a:pt x="697243" y="1371610"/>
                  <a:pt x="576043" y="1371610"/>
                </a:cubicBezTo>
                <a:cubicBezTo>
                  <a:pt x="455107" y="1371610"/>
                  <a:pt x="356606" y="1469846"/>
                  <a:pt x="356606" y="1591046"/>
                </a:cubicBezTo>
                <a:close/>
                <a:moveTo>
                  <a:pt x="493766" y="1591046"/>
                </a:moveTo>
                <a:cubicBezTo>
                  <a:pt x="493766" y="1545695"/>
                  <a:pt x="530731" y="1508770"/>
                  <a:pt x="576043" y="1508770"/>
                </a:cubicBezTo>
                <a:cubicBezTo>
                  <a:pt x="621394" y="1508770"/>
                  <a:pt x="658368" y="1545734"/>
                  <a:pt x="658368" y="1591046"/>
                </a:cubicBezTo>
                <a:cubicBezTo>
                  <a:pt x="658368" y="1636397"/>
                  <a:pt x="621354" y="1673323"/>
                  <a:pt x="576043" y="1673323"/>
                </a:cubicBezTo>
                <a:cubicBezTo>
                  <a:pt x="530731" y="1673323"/>
                  <a:pt x="493766" y="1636358"/>
                  <a:pt x="493766" y="1591046"/>
                </a:cubicBezTo>
                <a:close/>
                <a:moveTo>
                  <a:pt x="356606" y="2249405"/>
                </a:moveTo>
                <a:cubicBezTo>
                  <a:pt x="356606" y="2370380"/>
                  <a:pt x="454842" y="2468880"/>
                  <a:pt x="576043" y="2468880"/>
                </a:cubicBezTo>
                <a:cubicBezTo>
                  <a:pt x="697018" y="2468880"/>
                  <a:pt x="795518" y="2370605"/>
                  <a:pt x="795518" y="2249405"/>
                </a:cubicBezTo>
                <a:cubicBezTo>
                  <a:pt x="795518" y="2128469"/>
                  <a:pt x="697243" y="2029968"/>
                  <a:pt x="576043" y="2029968"/>
                </a:cubicBezTo>
                <a:cubicBezTo>
                  <a:pt x="455107" y="2029968"/>
                  <a:pt x="356606" y="2128204"/>
                  <a:pt x="356606" y="2249405"/>
                </a:cubicBezTo>
                <a:close/>
                <a:moveTo>
                  <a:pt x="493766" y="2249405"/>
                </a:moveTo>
                <a:cubicBezTo>
                  <a:pt x="493766" y="2204054"/>
                  <a:pt x="530731" y="2167128"/>
                  <a:pt x="576043" y="2167128"/>
                </a:cubicBezTo>
                <a:cubicBezTo>
                  <a:pt x="621394" y="2167128"/>
                  <a:pt x="658368" y="2204093"/>
                  <a:pt x="658368" y="2249405"/>
                </a:cubicBezTo>
                <a:cubicBezTo>
                  <a:pt x="658368" y="2294755"/>
                  <a:pt x="621354" y="2331720"/>
                  <a:pt x="576043" y="2331720"/>
                </a:cubicBezTo>
                <a:cubicBezTo>
                  <a:pt x="530731" y="2331720"/>
                  <a:pt x="493766" y="2294716"/>
                  <a:pt x="493766" y="2249405"/>
                </a:cubicBezTo>
                <a:close/>
              </a:path>
            </a:pathLst>
          </a:custGeom>
          <a:solidFill>
            <a:srgbClr val="FFFFFF"/>
          </a:solidFill>
          <a:ln w="97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" name="Oval 11">
            <a:hlinkClick r:id="" action="ppaction://noaction"/>
            <a:extLst>
              <a:ext uri="{FF2B5EF4-FFF2-40B4-BE49-F238E27FC236}">
                <a16:creationId xmlns:a16="http://schemas.microsoft.com/office/drawing/2014/main" id="{DA6935A7-77C7-47BE-8543-EC1799EEF85B}"/>
              </a:ext>
            </a:extLst>
          </p:cNvPr>
          <p:cNvSpPr/>
          <p:nvPr/>
        </p:nvSpPr>
        <p:spPr>
          <a:xfrm flipH="1" flipV="1">
            <a:off x="11337736" y="127008"/>
            <a:ext cx="310896" cy="310896"/>
          </a:xfrm>
          <a:prstGeom prst="ellipse">
            <a:avLst/>
          </a:prstGeom>
          <a:noFill/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Oval 12">
            <a:hlinkClick r:id="rId3" action="ppaction://hlinksldjump"/>
            <a:extLst>
              <a:ext uri="{FF2B5EF4-FFF2-40B4-BE49-F238E27FC236}">
                <a16:creationId xmlns:a16="http://schemas.microsoft.com/office/drawing/2014/main" id="{8C7690BA-58CD-422B-94FD-9857564A6C0D}"/>
              </a:ext>
            </a:extLst>
          </p:cNvPr>
          <p:cNvSpPr/>
          <p:nvPr/>
        </p:nvSpPr>
        <p:spPr>
          <a:xfrm flipH="1" flipV="1">
            <a:off x="11710669" y="127008"/>
            <a:ext cx="310896" cy="310896"/>
          </a:xfrm>
          <a:prstGeom prst="ellipse">
            <a:avLst/>
          </a:prstGeom>
          <a:noFill/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A701E45-F552-4564-ACBB-317EDF54ED72}"/>
              </a:ext>
            </a:extLst>
          </p:cNvPr>
          <p:cNvSpPr/>
          <p:nvPr/>
        </p:nvSpPr>
        <p:spPr>
          <a:xfrm>
            <a:off x="8785077" y="6169931"/>
            <a:ext cx="3406923" cy="6096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18510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7345C-C065-5515-469F-62A406832C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8B7799-BB67-51E1-46A1-1628DA9022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3102" y="1359625"/>
            <a:ext cx="10820082" cy="507831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Measurable residual disease status was determined by 6 color flow cytometry at the ECOG-ACRIN Leukemia Translational Research Lab with &gt;= 0.01% as the cutoff for positiv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With a minimum of 190 MRD-negative patients, the study had an 80% power to detect a 45% reduction in hazard rate in the blinatumomab arm compared to the control arm using one-sided log rank test at significance level of 0.025 and assuming 2 years of follow u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Estimates of overall survival were calculated using the Kaplan-Meier meth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Comparison of overall survival between treatment arms was conducted using stratification factors of: </a:t>
            </a:r>
          </a:p>
          <a:p>
            <a:pPr marL="1657350" lvl="3" indent="-285750">
              <a:buFontTx/>
              <a:buChar char="-"/>
            </a:pPr>
            <a:r>
              <a:rPr lang="en-US" sz="1800" dirty="0">
                <a:solidFill>
                  <a:srgbClr val="005193"/>
                </a:solidFill>
              </a:rPr>
              <a:t>Age </a:t>
            </a:r>
          </a:p>
          <a:p>
            <a:pPr marL="1657350" lvl="3" indent="-285750">
              <a:buFontTx/>
              <a:buChar char="-"/>
            </a:pPr>
            <a:r>
              <a:rPr lang="en-US" sz="1800" dirty="0">
                <a:solidFill>
                  <a:srgbClr val="005193"/>
                </a:solidFill>
              </a:rPr>
              <a:t>CD20 status</a:t>
            </a:r>
          </a:p>
          <a:p>
            <a:pPr marL="1657350" lvl="3" indent="-285750">
              <a:buFontTx/>
              <a:buChar char="-"/>
            </a:pPr>
            <a:r>
              <a:rPr lang="en-US" sz="1800" dirty="0">
                <a:solidFill>
                  <a:srgbClr val="005193"/>
                </a:solidFill>
              </a:rPr>
              <a:t>Rituximab use</a:t>
            </a:r>
          </a:p>
          <a:p>
            <a:pPr marL="1657350" lvl="3" indent="-285750">
              <a:buFontTx/>
              <a:buChar char="-"/>
            </a:pPr>
            <a:r>
              <a:rPr lang="en-US" sz="1800" dirty="0">
                <a:solidFill>
                  <a:srgbClr val="005193"/>
                </a:solidFill>
              </a:rPr>
              <a:t>Intention or not to receive hematopoietic cell transplant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B8F3D23-1178-0986-5045-E8597DFE8747}"/>
              </a:ext>
            </a:extLst>
          </p:cNvPr>
          <p:cNvSpPr/>
          <p:nvPr/>
        </p:nvSpPr>
        <p:spPr>
          <a:xfrm flipH="1" flipV="1">
            <a:off x="11710669" y="127008"/>
            <a:ext cx="310896" cy="310896"/>
          </a:xfrm>
          <a:prstGeom prst="ellipse">
            <a:avLst/>
          </a:prstGeom>
          <a:solidFill>
            <a:srgbClr val="0063C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E5EC0D1-7079-52FC-40A7-3B92BDEF9F10}"/>
              </a:ext>
            </a:extLst>
          </p:cNvPr>
          <p:cNvGrpSpPr/>
          <p:nvPr/>
        </p:nvGrpSpPr>
        <p:grpSpPr>
          <a:xfrm>
            <a:off x="11766669" y="192116"/>
            <a:ext cx="198897" cy="180681"/>
            <a:chOff x="10602113" y="6516461"/>
            <a:chExt cx="200063" cy="181743"/>
          </a:xfrm>
          <a:solidFill>
            <a:srgbClr val="FFFFFF"/>
          </a:solidFill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3BBEB2B-C171-B707-871D-B87A4E27F2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6199" y="6562955"/>
              <a:ext cx="151306" cy="135249"/>
            </a:xfrm>
            <a:custGeom>
              <a:avLst/>
              <a:gdLst>
                <a:gd name="T0" fmla="*/ 0 w 878"/>
                <a:gd name="T1" fmla="*/ 541 h 786"/>
                <a:gd name="T2" fmla="*/ 0 w 878"/>
                <a:gd name="T3" fmla="*/ 327 h 786"/>
                <a:gd name="T4" fmla="*/ 18 w 878"/>
                <a:gd name="T5" fmla="*/ 292 h 786"/>
                <a:gd name="T6" fmla="*/ 421 w 878"/>
                <a:gd name="T7" fmla="*/ 10 h 786"/>
                <a:gd name="T8" fmla="*/ 460 w 878"/>
                <a:gd name="T9" fmla="*/ 10 h 786"/>
                <a:gd name="T10" fmla="*/ 860 w 878"/>
                <a:gd name="T11" fmla="*/ 290 h 786"/>
                <a:gd name="T12" fmla="*/ 878 w 878"/>
                <a:gd name="T13" fmla="*/ 325 h 786"/>
                <a:gd name="T14" fmla="*/ 878 w 878"/>
                <a:gd name="T15" fmla="*/ 755 h 786"/>
                <a:gd name="T16" fmla="*/ 848 w 878"/>
                <a:gd name="T17" fmla="*/ 786 h 786"/>
                <a:gd name="T18" fmla="*/ 582 w 878"/>
                <a:gd name="T19" fmla="*/ 786 h 786"/>
                <a:gd name="T20" fmla="*/ 552 w 878"/>
                <a:gd name="T21" fmla="*/ 755 h 786"/>
                <a:gd name="T22" fmla="*/ 552 w 878"/>
                <a:gd name="T23" fmla="*/ 405 h 786"/>
                <a:gd name="T24" fmla="*/ 520 w 878"/>
                <a:gd name="T25" fmla="*/ 372 h 786"/>
                <a:gd name="T26" fmla="*/ 354 w 878"/>
                <a:gd name="T27" fmla="*/ 372 h 786"/>
                <a:gd name="T28" fmla="*/ 329 w 878"/>
                <a:gd name="T29" fmla="*/ 398 h 786"/>
                <a:gd name="T30" fmla="*/ 329 w 878"/>
                <a:gd name="T31" fmla="*/ 750 h 786"/>
                <a:gd name="T32" fmla="*/ 294 w 878"/>
                <a:gd name="T33" fmla="*/ 786 h 786"/>
                <a:gd name="T34" fmla="*/ 32 w 878"/>
                <a:gd name="T35" fmla="*/ 786 h 786"/>
                <a:gd name="T36" fmla="*/ 0 w 878"/>
                <a:gd name="T37" fmla="*/ 753 h 786"/>
                <a:gd name="T38" fmla="*/ 0 w 878"/>
                <a:gd name="T39" fmla="*/ 541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78" h="786">
                  <a:moveTo>
                    <a:pt x="0" y="541"/>
                  </a:moveTo>
                  <a:cubicBezTo>
                    <a:pt x="0" y="470"/>
                    <a:pt x="1" y="398"/>
                    <a:pt x="0" y="327"/>
                  </a:cubicBezTo>
                  <a:cubicBezTo>
                    <a:pt x="0" y="311"/>
                    <a:pt x="5" y="301"/>
                    <a:pt x="18" y="292"/>
                  </a:cubicBezTo>
                  <a:cubicBezTo>
                    <a:pt x="152" y="198"/>
                    <a:pt x="287" y="104"/>
                    <a:pt x="421" y="10"/>
                  </a:cubicBezTo>
                  <a:cubicBezTo>
                    <a:pt x="435" y="0"/>
                    <a:pt x="446" y="0"/>
                    <a:pt x="460" y="10"/>
                  </a:cubicBezTo>
                  <a:cubicBezTo>
                    <a:pt x="593" y="104"/>
                    <a:pt x="726" y="197"/>
                    <a:pt x="860" y="290"/>
                  </a:cubicBezTo>
                  <a:cubicBezTo>
                    <a:pt x="873" y="299"/>
                    <a:pt x="878" y="309"/>
                    <a:pt x="878" y="325"/>
                  </a:cubicBezTo>
                  <a:cubicBezTo>
                    <a:pt x="878" y="468"/>
                    <a:pt x="878" y="612"/>
                    <a:pt x="878" y="755"/>
                  </a:cubicBezTo>
                  <a:cubicBezTo>
                    <a:pt x="878" y="781"/>
                    <a:pt x="874" y="786"/>
                    <a:pt x="848" y="786"/>
                  </a:cubicBezTo>
                  <a:cubicBezTo>
                    <a:pt x="759" y="786"/>
                    <a:pt x="670" y="786"/>
                    <a:pt x="582" y="786"/>
                  </a:cubicBezTo>
                  <a:cubicBezTo>
                    <a:pt x="555" y="786"/>
                    <a:pt x="552" y="782"/>
                    <a:pt x="552" y="755"/>
                  </a:cubicBezTo>
                  <a:cubicBezTo>
                    <a:pt x="552" y="638"/>
                    <a:pt x="552" y="522"/>
                    <a:pt x="552" y="405"/>
                  </a:cubicBezTo>
                  <a:cubicBezTo>
                    <a:pt x="552" y="373"/>
                    <a:pt x="552" y="372"/>
                    <a:pt x="520" y="372"/>
                  </a:cubicBezTo>
                  <a:cubicBezTo>
                    <a:pt x="465" y="372"/>
                    <a:pt x="409" y="373"/>
                    <a:pt x="354" y="372"/>
                  </a:cubicBezTo>
                  <a:cubicBezTo>
                    <a:pt x="335" y="372"/>
                    <a:pt x="328" y="379"/>
                    <a:pt x="329" y="398"/>
                  </a:cubicBezTo>
                  <a:cubicBezTo>
                    <a:pt x="329" y="515"/>
                    <a:pt x="329" y="632"/>
                    <a:pt x="329" y="750"/>
                  </a:cubicBezTo>
                  <a:cubicBezTo>
                    <a:pt x="329" y="783"/>
                    <a:pt x="327" y="786"/>
                    <a:pt x="294" y="786"/>
                  </a:cubicBezTo>
                  <a:cubicBezTo>
                    <a:pt x="207" y="786"/>
                    <a:pt x="119" y="786"/>
                    <a:pt x="32" y="786"/>
                  </a:cubicBezTo>
                  <a:cubicBezTo>
                    <a:pt x="4" y="786"/>
                    <a:pt x="0" y="781"/>
                    <a:pt x="0" y="753"/>
                  </a:cubicBezTo>
                  <a:cubicBezTo>
                    <a:pt x="0" y="682"/>
                    <a:pt x="0" y="612"/>
                    <a:pt x="0" y="5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1869F1A7-06F1-BEBF-EF83-9A41DFDFF6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2113" y="6516461"/>
              <a:ext cx="200063" cy="93134"/>
            </a:xfrm>
            <a:custGeom>
              <a:avLst/>
              <a:gdLst>
                <a:gd name="T0" fmla="*/ 580 w 1161"/>
                <a:gd name="T1" fmla="*/ 1 h 541"/>
                <a:gd name="T2" fmla="*/ 601 w 1161"/>
                <a:gd name="T3" fmla="*/ 10 h 541"/>
                <a:gd name="T4" fmla="*/ 1141 w 1161"/>
                <a:gd name="T5" fmla="*/ 388 h 541"/>
                <a:gd name="T6" fmla="*/ 1147 w 1161"/>
                <a:gd name="T7" fmla="*/ 428 h 541"/>
                <a:gd name="T8" fmla="*/ 1085 w 1161"/>
                <a:gd name="T9" fmla="*/ 516 h 541"/>
                <a:gd name="T10" fmla="*/ 1041 w 1161"/>
                <a:gd name="T11" fmla="*/ 524 h 541"/>
                <a:gd name="T12" fmla="*/ 685 w 1161"/>
                <a:gd name="T13" fmla="*/ 274 h 541"/>
                <a:gd name="T14" fmla="*/ 600 w 1161"/>
                <a:gd name="T15" fmla="*/ 214 h 541"/>
                <a:gd name="T16" fmla="*/ 561 w 1161"/>
                <a:gd name="T17" fmla="*/ 214 h 541"/>
                <a:gd name="T18" fmla="*/ 126 w 1161"/>
                <a:gd name="T19" fmla="*/ 519 h 541"/>
                <a:gd name="T20" fmla="*/ 70 w 1161"/>
                <a:gd name="T21" fmla="*/ 508 h 541"/>
                <a:gd name="T22" fmla="*/ 12 w 1161"/>
                <a:gd name="T23" fmla="*/ 426 h 541"/>
                <a:gd name="T24" fmla="*/ 19 w 1161"/>
                <a:gd name="T25" fmla="*/ 388 h 541"/>
                <a:gd name="T26" fmla="*/ 561 w 1161"/>
                <a:gd name="T27" fmla="*/ 9 h 541"/>
                <a:gd name="T28" fmla="*/ 580 w 1161"/>
                <a:gd name="T29" fmla="*/ 1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61" h="541">
                  <a:moveTo>
                    <a:pt x="580" y="1"/>
                  </a:moveTo>
                  <a:cubicBezTo>
                    <a:pt x="589" y="1"/>
                    <a:pt x="595" y="6"/>
                    <a:pt x="601" y="10"/>
                  </a:cubicBezTo>
                  <a:cubicBezTo>
                    <a:pt x="781" y="136"/>
                    <a:pt x="961" y="262"/>
                    <a:pt x="1141" y="388"/>
                  </a:cubicBezTo>
                  <a:cubicBezTo>
                    <a:pt x="1160" y="401"/>
                    <a:pt x="1161" y="408"/>
                    <a:pt x="1147" y="428"/>
                  </a:cubicBezTo>
                  <a:cubicBezTo>
                    <a:pt x="1127" y="457"/>
                    <a:pt x="1106" y="487"/>
                    <a:pt x="1085" y="516"/>
                  </a:cubicBezTo>
                  <a:cubicBezTo>
                    <a:pt x="1070" y="538"/>
                    <a:pt x="1064" y="539"/>
                    <a:pt x="1041" y="524"/>
                  </a:cubicBezTo>
                  <a:cubicBezTo>
                    <a:pt x="922" y="440"/>
                    <a:pt x="804" y="357"/>
                    <a:pt x="685" y="274"/>
                  </a:cubicBezTo>
                  <a:cubicBezTo>
                    <a:pt x="656" y="254"/>
                    <a:pt x="627" y="235"/>
                    <a:pt x="600" y="214"/>
                  </a:cubicBezTo>
                  <a:cubicBezTo>
                    <a:pt x="586" y="203"/>
                    <a:pt x="576" y="203"/>
                    <a:pt x="561" y="214"/>
                  </a:cubicBezTo>
                  <a:cubicBezTo>
                    <a:pt x="416" y="316"/>
                    <a:pt x="271" y="417"/>
                    <a:pt x="126" y="519"/>
                  </a:cubicBezTo>
                  <a:cubicBezTo>
                    <a:pt x="94" y="541"/>
                    <a:pt x="92" y="541"/>
                    <a:pt x="70" y="508"/>
                  </a:cubicBezTo>
                  <a:cubicBezTo>
                    <a:pt x="51" y="481"/>
                    <a:pt x="31" y="454"/>
                    <a:pt x="12" y="426"/>
                  </a:cubicBezTo>
                  <a:cubicBezTo>
                    <a:pt x="0" y="408"/>
                    <a:pt x="1" y="401"/>
                    <a:pt x="19" y="388"/>
                  </a:cubicBezTo>
                  <a:cubicBezTo>
                    <a:pt x="200" y="262"/>
                    <a:pt x="380" y="135"/>
                    <a:pt x="561" y="9"/>
                  </a:cubicBezTo>
                  <a:cubicBezTo>
                    <a:pt x="567" y="5"/>
                    <a:pt x="573" y="0"/>
                    <a:pt x="58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6" name="Oval 15">
            <a:extLst>
              <a:ext uri="{FF2B5EF4-FFF2-40B4-BE49-F238E27FC236}">
                <a16:creationId xmlns:a16="http://schemas.microsoft.com/office/drawing/2014/main" id="{4B50DF93-85F4-0AF4-DF09-9DDA9B8B2E18}"/>
              </a:ext>
            </a:extLst>
          </p:cNvPr>
          <p:cNvSpPr/>
          <p:nvPr/>
        </p:nvSpPr>
        <p:spPr>
          <a:xfrm flipH="1" flipV="1">
            <a:off x="11337736" y="127008"/>
            <a:ext cx="310896" cy="310896"/>
          </a:xfrm>
          <a:prstGeom prst="ellipse">
            <a:avLst/>
          </a:prstGeom>
          <a:solidFill>
            <a:srgbClr val="0063C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22DFC6F3-7A3C-F9EB-E920-E076CA040370}"/>
              </a:ext>
            </a:extLst>
          </p:cNvPr>
          <p:cNvSpPr/>
          <p:nvPr/>
        </p:nvSpPr>
        <p:spPr>
          <a:xfrm>
            <a:off x="11402846" y="192117"/>
            <a:ext cx="180678" cy="180680"/>
          </a:xfrm>
          <a:custGeom>
            <a:avLst/>
            <a:gdLst>
              <a:gd name="connsiteX0" fmla="*/ 109532 w 3182112"/>
              <a:gd name="connsiteY0" fmla="*/ 0 h 3182111"/>
              <a:gd name="connsiteX1" fmla="*/ 3072580 w 3182112"/>
              <a:gd name="connsiteY1" fmla="*/ 0 h 3182111"/>
              <a:gd name="connsiteX2" fmla="*/ 3182112 w 3182112"/>
              <a:gd name="connsiteY2" fmla="*/ 109532 h 3182111"/>
              <a:gd name="connsiteX3" fmla="*/ 3182112 w 3182112"/>
              <a:gd name="connsiteY3" fmla="*/ 3072580 h 3182111"/>
              <a:gd name="connsiteX4" fmla="*/ 3072580 w 3182112"/>
              <a:gd name="connsiteY4" fmla="*/ 3182112 h 3182111"/>
              <a:gd name="connsiteX5" fmla="*/ 109532 w 3182112"/>
              <a:gd name="connsiteY5" fmla="*/ 3182112 h 3182111"/>
              <a:gd name="connsiteX6" fmla="*/ 0 w 3182112"/>
              <a:gd name="connsiteY6" fmla="*/ 3072580 h 3182111"/>
              <a:gd name="connsiteX7" fmla="*/ 0 w 3182112"/>
              <a:gd name="connsiteY7" fmla="*/ 109532 h 3182111"/>
              <a:gd name="connsiteX8" fmla="*/ 109532 w 3182112"/>
              <a:gd name="connsiteY8" fmla="*/ 0 h 3182111"/>
              <a:gd name="connsiteX9" fmla="*/ 1069848 w 3182112"/>
              <a:gd name="connsiteY9" fmla="*/ 1700784 h 3182111"/>
              <a:gd name="connsiteX10" fmla="*/ 2715768 w 3182112"/>
              <a:gd name="connsiteY10" fmla="*/ 1700784 h 3182111"/>
              <a:gd name="connsiteX11" fmla="*/ 2825486 w 3182112"/>
              <a:gd name="connsiteY11" fmla="*/ 1591066 h 3182111"/>
              <a:gd name="connsiteX12" fmla="*/ 2715768 w 3182112"/>
              <a:gd name="connsiteY12" fmla="*/ 1481348 h 3182111"/>
              <a:gd name="connsiteX13" fmla="*/ 1069848 w 3182112"/>
              <a:gd name="connsiteY13" fmla="*/ 1481348 h 3182111"/>
              <a:gd name="connsiteX14" fmla="*/ 960130 w 3182112"/>
              <a:gd name="connsiteY14" fmla="*/ 1591066 h 3182111"/>
              <a:gd name="connsiteX15" fmla="*/ 1069848 w 3182112"/>
              <a:gd name="connsiteY15" fmla="*/ 1700784 h 3182111"/>
              <a:gd name="connsiteX16" fmla="*/ 1069848 w 3182112"/>
              <a:gd name="connsiteY16" fmla="*/ 2359142 h 3182111"/>
              <a:gd name="connsiteX17" fmla="*/ 2715768 w 3182112"/>
              <a:gd name="connsiteY17" fmla="*/ 2359142 h 3182111"/>
              <a:gd name="connsiteX18" fmla="*/ 2825486 w 3182112"/>
              <a:gd name="connsiteY18" fmla="*/ 2249424 h 3182111"/>
              <a:gd name="connsiteX19" fmla="*/ 2715768 w 3182112"/>
              <a:gd name="connsiteY19" fmla="*/ 2139706 h 3182111"/>
              <a:gd name="connsiteX20" fmla="*/ 1069848 w 3182112"/>
              <a:gd name="connsiteY20" fmla="*/ 2139706 h 3182111"/>
              <a:gd name="connsiteX21" fmla="*/ 960130 w 3182112"/>
              <a:gd name="connsiteY21" fmla="*/ 2249424 h 3182111"/>
              <a:gd name="connsiteX22" fmla="*/ 1069848 w 3182112"/>
              <a:gd name="connsiteY22" fmla="*/ 2359142 h 3182111"/>
              <a:gd name="connsiteX23" fmla="*/ 1069848 w 3182112"/>
              <a:gd name="connsiteY23" fmla="*/ 1042406 h 3182111"/>
              <a:gd name="connsiteX24" fmla="*/ 2715768 w 3182112"/>
              <a:gd name="connsiteY24" fmla="*/ 1042406 h 3182111"/>
              <a:gd name="connsiteX25" fmla="*/ 2825486 w 3182112"/>
              <a:gd name="connsiteY25" fmla="*/ 932688 h 3182111"/>
              <a:gd name="connsiteX26" fmla="*/ 2715768 w 3182112"/>
              <a:gd name="connsiteY26" fmla="*/ 822970 h 3182111"/>
              <a:gd name="connsiteX27" fmla="*/ 1069848 w 3182112"/>
              <a:gd name="connsiteY27" fmla="*/ 822970 h 3182111"/>
              <a:gd name="connsiteX28" fmla="*/ 960130 w 3182112"/>
              <a:gd name="connsiteY28" fmla="*/ 932688 h 3182111"/>
              <a:gd name="connsiteX29" fmla="*/ 1069848 w 3182112"/>
              <a:gd name="connsiteY29" fmla="*/ 1042406 h 3182111"/>
              <a:gd name="connsiteX30" fmla="*/ 356606 w 3182112"/>
              <a:gd name="connsiteY30" fmla="*/ 932688 h 3182111"/>
              <a:gd name="connsiteX31" fmla="*/ 576043 w 3182112"/>
              <a:gd name="connsiteY31" fmla="*/ 1152124 h 3182111"/>
              <a:gd name="connsiteX32" fmla="*/ 795518 w 3182112"/>
              <a:gd name="connsiteY32" fmla="*/ 932688 h 3182111"/>
              <a:gd name="connsiteX33" fmla="*/ 576043 w 3182112"/>
              <a:gd name="connsiteY33" fmla="*/ 713212 h 3182111"/>
              <a:gd name="connsiteX34" fmla="*/ 356606 w 3182112"/>
              <a:gd name="connsiteY34" fmla="*/ 932688 h 3182111"/>
              <a:gd name="connsiteX35" fmla="*/ 493766 w 3182112"/>
              <a:gd name="connsiteY35" fmla="*/ 932688 h 3182111"/>
              <a:gd name="connsiteX36" fmla="*/ 576043 w 3182112"/>
              <a:gd name="connsiteY36" fmla="*/ 850372 h 3182111"/>
              <a:gd name="connsiteX37" fmla="*/ 658368 w 3182112"/>
              <a:gd name="connsiteY37" fmla="*/ 932688 h 3182111"/>
              <a:gd name="connsiteX38" fmla="*/ 576043 w 3182112"/>
              <a:gd name="connsiteY38" fmla="*/ 1014964 h 3182111"/>
              <a:gd name="connsiteX39" fmla="*/ 493766 w 3182112"/>
              <a:gd name="connsiteY39" fmla="*/ 932688 h 3182111"/>
              <a:gd name="connsiteX40" fmla="*/ 356606 w 3182112"/>
              <a:gd name="connsiteY40" fmla="*/ 1591046 h 3182111"/>
              <a:gd name="connsiteX41" fmla="*/ 576043 w 3182112"/>
              <a:gd name="connsiteY41" fmla="*/ 1810483 h 3182111"/>
              <a:gd name="connsiteX42" fmla="*/ 795518 w 3182112"/>
              <a:gd name="connsiteY42" fmla="*/ 1591046 h 3182111"/>
              <a:gd name="connsiteX43" fmla="*/ 576043 w 3182112"/>
              <a:gd name="connsiteY43" fmla="*/ 1371610 h 3182111"/>
              <a:gd name="connsiteX44" fmla="*/ 356606 w 3182112"/>
              <a:gd name="connsiteY44" fmla="*/ 1591046 h 3182111"/>
              <a:gd name="connsiteX45" fmla="*/ 493766 w 3182112"/>
              <a:gd name="connsiteY45" fmla="*/ 1591046 h 3182111"/>
              <a:gd name="connsiteX46" fmla="*/ 576043 w 3182112"/>
              <a:gd name="connsiteY46" fmla="*/ 1508770 h 3182111"/>
              <a:gd name="connsiteX47" fmla="*/ 658368 w 3182112"/>
              <a:gd name="connsiteY47" fmla="*/ 1591046 h 3182111"/>
              <a:gd name="connsiteX48" fmla="*/ 576043 w 3182112"/>
              <a:gd name="connsiteY48" fmla="*/ 1673323 h 3182111"/>
              <a:gd name="connsiteX49" fmla="*/ 493766 w 3182112"/>
              <a:gd name="connsiteY49" fmla="*/ 1591046 h 3182111"/>
              <a:gd name="connsiteX50" fmla="*/ 356606 w 3182112"/>
              <a:gd name="connsiteY50" fmla="*/ 2249405 h 3182111"/>
              <a:gd name="connsiteX51" fmla="*/ 576043 w 3182112"/>
              <a:gd name="connsiteY51" fmla="*/ 2468880 h 3182111"/>
              <a:gd name="connsiteX52" fmla="*/ 795518 w 3182112"/>
              <a:gd name="connsiteY52" fmla="*/ 2249405 h 3182111"/>
              <a:gd name="connsiteX53" fmla="*/ 576043 w 3182112"/>
              <a:gd name="connsiteY53" fmla="*/ 2029968 h 3182111"/>
              <a:gd name="connsiteX54" fmla="*/ 356606 w 3182112"/>
              <a:gd name="connsiteY54" fmla="*/ 2249405 h 3182111"/>
              <a:gd name="connsiteX55" fmla="*/ 493766 w 3182112"/>
              <a:gd name="connsiteY55" fmla="*/ 2249405 h 3182111"/>
              <a:gd name="connsiteX56" fmla="*/ 576043 w 3182112"/>
              <a:gd name="connsiteY56" fmla="*/ 2167128 h 3182111"/>
              <a:gd name="connsiteX57" fmla="*/ 658368 w 3182112"/>
              <a:gd name="connsiteY57" fmla="*/ 2249405 h 3182111"/>
              <a:gd name="connsiteX58" fmla="*/ 576043 w 3182112"/>
              <a:gd name="connsiteY58" fmla="*/ 2331720 h 3182111"/>
              <a:gd name="connsiteX59" fmla="*/ 493766 w 3182112"/>
              <a:gd name="connsiteY59" fmla="*/ 2249405 h 3182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3182112" h="3182111">
                <a:moveTo>
                  <a:pt x="109532" y="0"/>
                </a:moveTo>
                <a:lnTo>
                  <a:pt x="3072580" y="0"/>
                </a:lnTo>
                <a:cubicBezTo>
                  <a:pt x="3133430" y="0"/>
                  <a:pt x="3182112" y="49025"/>
                  <a:pt x="3182112" y="109532"/>
                </a:cubicBezTo>
                <a:lnTo>
                  <a:pt x="3182112" y="3072580"/>
                </a:lnTo>
                <a:cubicBezTo>
                  <a:pt x="3182112" y="3133430"/>
                  <a:pt x="3133087" y="3182112"/>
                  <a:pt x="3072580" y="3182112"/>
                </a:cubicBezTo>
                <a:lnTo>
                  <a:pt x="109532" y="3182112"/>
                </a:lnTo>
                <a:cubicBezTo>
                  <a:pt x="48682" y="3182112"/>
                  <a:pt x="0" y="3133087"/>
                  <a:pt x="0" y="3072580"/>
                </a:cubicBezTo>
                <a:lnTo>
                  <a:pt x="0" y="109532"/>
                </a:lnTo>
                <a:cubicBezTo>
                  <a:pt x="0" y="48682"/>
                  <a:pt x="49025" y="0"/>
                  <a:pt x="109532" y="0"/>
                </a:cubicBezTo>
                <a:close/>
                <a:moveTo>
                  <a:pt x="1069848" y="1700784"/>
                </a:moveTo>
                <a:lnTo>
                  <a:pt x="2715768" y="1700784"/>
                </a:lnTo>
                <a:cubicBezTo>
                  <a:pt x="2776354" y="1700784"/>
                  <a:pt x="2825486" y="1651681"/>
                  <a:pt x="2825486" y="1591066"/>
                </a:cubicBezTo>
                <a:cubicBezTo>
                  <a:pt x="2825486" y="1530451"/>
                  <a:pt x="2776344" y="1481348"/>
                  <a:pt x="2715768" y="1481348"/>
                </a:cubicBezTo>
                <a:lnTo>
                  <a:pt x="1069848" y="1481348"/>
                </a:lnTo>
                <a:cubicBezTo>
                  <a:pt x="1009223" y="1481348"/>
                  <a:pt x="960130" y="1530451"/>
                  <a:pt x="960130" y="1591066"/>
                </a:cubicBezTo>
                <a:cubicBezTo>
                  <a:pt x="960130" y="1651681"/>
                  <a:pt x="1009233" y="1700784"/>
                  <a:pt x="1069848" y="1700784"/>
                </a:cubicBezTo>
                <a:close/>
                <a:moveTo>
                  <a:pt x="1069848" y="2359142"/>
                </a:moveTo>
                <a:lnTo>
                  <a:pt x="2715768" y="2359142"/>
                </a:lnTo>
                <a:cubicBezTo>
                  <a:pt x="2776354" y="2359142"/>
                  <a:pt x="2825486" y="2310039"/>
                  <a:pt x="2825486" y="2249424"/>
                </a:cubicBezTo>
                <a:cubicBezTo>
                  <a:pt x="2825486" y="2188839"/>
                  <a:pt x="2776344" y="2139706"/>
                  <a:pt x="2715768" y="2139706"/>
                </a:cubicBezTo>
                <a:lnTo>
                  <a:pt x="1069848" y="2139706"/>
                </a:lnTo>
                <a:cubicBezTo>
                  <a:pt x="1009223" y="2139706"/>
                  <a:pt x="960130" y="2188848"/>
                  <a:pt x="960130" y="2249424"/>
                </a:cubicBezTo>
                <a:cubicBezTo>
                  <a:pt x="960130" y="2310049"/>
                  <a:pt x="1009233" y="2359142"/>
                  <a:pt x="1069848" y="2359142"/>
                </a:cubicBezTo>
                <a:close/>
                <a:moveTo>
                  <a:pt x="1069848" y="1042406"/>
                </a:moveTo>
                <a:lnTo>
                  <a:pt x="2715768" y="1042406"/>
                </a:lnTo>
                <a:cubicBezTo>
                  <a:pt x="2776354" y="1042406"/>
                  <a:pt x="2825486" y="993264"/>
                  <a:pt x="2825486" y="932688"/>
                </a:cubicBezTo>
                <a:cubicBezTo>
                  <a:pt x="2825486" y="872073"/>
                  <a:pt x="2776344" y="822970"/>
                  <a:pt x="2715768" y="822970"/>
                </a:cubicBezTo>
                <a:lnTo>
                  <a:pt x="1069848" y="822970"/>
                </a:lnTo>
                <a:cubicBezTo>
                  <a:pt x="1009223" y="822970"/>
                  <a:pt x="960130" y="872073"/>
                  <a:pt x="960130" y="932688"/>
                </a:cubicBezTo>
                <a:cubicBezTo>
                  <a:pt x="960130" y="993274"/>
                  <a:pt x="1009233" y="1042406"/>
                  <a:pt x="1069848" y="1042406"/>
                </a:cubicBezTo>
                <a:close/>
                <a:moveTo>
                  <a:pt x="356606" y="932688"/>
                </a:moveTo>
                <a:cubicBezTo>
                  <a:pt x="356606" y="1053624"/>
                  <a:pt x="454842" y="1152124"/>
                  <a:pt x="576043" y="1152124"/>
                </a:cubicBezTo>
                <a:cubicBezTo>
                  <a:pt x="697018" y="1152124"/>
                  <a:pt x="795518" y="1053889"/>
                  <a:pt x="795518" y="932688"/>
                </a:cubicBezTo>
                <a:cubicBezTo>
                  <a:pt x="795518" y="811713"/>
                  <a:pt x="697243" y="713212"/>
                  <a:pt x="576043" y="713212"/>
                </a:cubicBezTo>
                <a:cubicBezTo>
                  <a:pt x="455107" y="713212"/>
                  <a:pt x="356606" y="811488"/>
                  <a:pt x="356606" y="932688"/>
                </a:cubicBezTo>
                <a:close/>
                <a:moveTo>
                  <a:pt x="493766" y="932688"/>
                </a:moveTo>
                <a:cubicBezTo>
                  <a:pt x="493766" y="887337"/>
                  <a:pt x="530731" y="850372"/>
                  <a:pt x="576043" y="850372"/>
                </a:cubicBezTo>
                <a:cubicBezTo>
                  <a:pt x="621394" y="850372"/>
                  <a:pt x="658368" y="887376"/>
                  <a:pt x="658368" y="932688"/>
                </a:cubicBezTo>
                <a:cubicBezTo>
                  <a:pt x="658368" y="978039"/>
                  <a:pt x="621354" y="1014964"/>
                  <a:pt x="576043" y="1014964"/>
                </a:cubicBezTo>
                <a:cubicBezTo>
                  <a:pt x="530731" y="1014964"/>
                  <a:pt x="493766" y="978000"/>
                  <a:pt x="493766" y="932688"/>
                </a:cubicBezTo>
                <a:close/>
                <a:moveTo>
                  <a:pt x="356606" y="1591046"/>
                </a:moveTo>
                <a:cubicBezTo>
                  <a:pt x="356606" y="1712021"/>
                  <a:pt x="454842" y="1810483"/>
                  <a:pt x="576043" y="1810483"/>
                </a:cubicBezTo>
                <a:cubicBezTo>
                  <a:pt x="697018" y="1810483"/>
                  <a:pt x="795518" y="1712247"/>
                  <a:pt x="795518" y="1591046"/>
                </a:cubicBezTo>
                <a:cubicBezTo>
                  <a:pt x="795518" y="1470071"/>
                  <a:pt x="697243" y="1371610"/>
                  <a:pt x="576043" y="1371610"/>
                </a:cubicBezTo>
                <a:cubicBezTo>
                  <a:pt x="455107" y="1371610"/>
                  <a:pt x="356606" y="1469846"/>
                  <a:pt x="356606" y="1591046"/>
                </a:cubicBezTo>
                <a:close/>
                <a:moveTo>
                  <a:pt x="493766" y="1591046"/>
                </a:moveTo>
                <a:cubicBezTo>
                  <a:pt x="493766" y="1545695"/>
                  <a:pt x="530731" y="1508770"/>
                  <a:pt x="576043" y="1508770"/>
                </a:cubicBezTo>
                <a:cubicBezTo>
                  <a:pt x="621394" y="1508770"/>
                  <a:pt x="658368" y="1545734"/>
                  <a:pt x="658368" y="1591046"/>
                </a:cubicBezTo>
                <a:cubicBezTo>
                  <a:pt x="658368" y="1636397"/>
                  <a:pt x="621354" y="1673323"/>
                  <a:pt x="576043" y="1673323"/>
                </a:cubicBezTo>
                <a:cubicBezTo>
                  <a:pt x="530731" y="1673323"/>
                  <a:pt x="493766" y="1636358"/>
                  <a:pt x="493766" y="1591046"/>
                </a:cubicBezTo>
                <a:close/>
                <a:moveTo>
                  <a:pt x="356606" y="2249405"/>
                </a:moveTo>
                <a:cubicBezTo>
                  <a:pt x="356606" y="2370380"/>
                  <a:pt x="454842" y="2468880"/>
                  <a:pt x="576043" y="2468880"/>
                </a:cubicBezTo>
                <a:cubicBezTo>
                  <a:pt x="697018" y="2468880"/>
                  <a:pt x="795518" y="2370605"/>
                  <a:pt x="795518" y="2249405"/>
                </a:cubicBezTo>
                <a:cubicBezTo>
                  <a:pt x="795518" y="2128469"/>
                  <a:pt x="697243" y="2029968"/>
                  <a:pt x="576043" y="2029968"/>
                </a:cubicBezTo>
                <a:cubicBezTo>
                  <a:pt x="455107" y="2029968"/>
                  <a:pt x="356606" y="2128204"/>
                  <a:pt x="356606" y="2249405"/>
                </a:cubicBezTo>
                <a:close/>
                <a:moveTo>
                  <a:pt x="493766" y="2249405"/>
                </a:moveTo>
                <a:cubicBezTo>
                  <a:pt x="493766" y="2204054"/>
                  <a:pt x="530731" y="2167128"/>
                  <a:pt x="576043" y="2167128"/>
                </a:cubicBezTo>
                <a:cubicBezTo>
                  <a:pt x="621394" y="2167128"/>
                  <a:pt x="658368" y="2204093"/>
                  <a:pt x="658368" y="2249405"/>
                </a:cubicBezTo>
                <a:cubicBezTo>
                  <a:pt x="658368" y="2294755"/>
                  <a:pt x="621354" y="2331720"/>
                  <a:pt x="576043" y="2331720"/>
                </a:cubicBezTo>
                <a:cubicBezTo>
                  <a:pt x="530731" y="2331720"/>
                  <a:pt x="493766" y="2294716"/>
                  <a:pt x="493766" y="2249405"/>
                </a:cubicBezTo>
                <a:close/>
              </a:path>
            </a:pathLst>
          </a:custGeom>
          <a:solidFill>
            <a:srgbClr val="FFFFFF"/>
          </a:solidFill>
          <a:ln w="97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Oval 17">
            <a:hlinkClick r:id="" action="ppaction://noaction"/>
            <a:extLst>
              <a:ext uri="{FF2B5EF4-FFF2-40B4-BE49-F238E27FC236}">
                <a16:creationId xmlns:a16="http://schemas.microsoft.com/office/drawing/2014/main" id="{B007E698-2548-1B6D-DE02-34F3AA545098}"/>
              </a:ext>
            </a:extLst>
          </p:cNvPr>
          <p:cNvSpPr/>
          <p:nvPr/>
        </p:nvSpPr>
        <p:spPr>
          <a:xfrm flipH="1" flipV="1">
            <a:off x="11337736" y="127008"/>
            <a:ext cx="310896" cy="310896"/>
          </a:xfrm>
          <a:prstGeom prst="ellipse">
            <a:avLst/>
          </a:prstGeom>
          <a:noFill/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Oval 18">
            <a:hlinkClick r:id="rId2" action="ppaction://hlinksldjump"/>
            <a:extLst>
              <a:ext uri="{FF2B5EF4-FFF2-40B4-BE49-F238E27FC236}">
                <a16:creationId xmlns:a16="http://schemas.microsoft.com/office/drawing/2014/main" id="{AEC1CF33-B86E-6CBF-BC83-FC8A3A91EF72}"/>
              </a:ext>
            </a:extLst>
          </p:cNvPr>
          <p:cNvSpPr/>
          <p:nvPr/>
        </p:nvSpPr>
        <p:spPr>
          <a:xfrm flipH="1" flipV="1">
            <a:off x="11710669" y="127008"/>
            <a:ext cx="310896" cy="310896"/>
          </a:xfrm>
          <a:prstGeom prst="ellipse">
            <a:avLst/>
          </a:prstGeom>
          <a:noFill/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18473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7345C-C065-5515-469F-62A406832C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487" y="372797"/>
            <a:ext cx="10820082" cy="492443"/>
          </a:xfrm>
        </p:spPr>
        <p:txBody>
          <a:bodyPr/>
          <a:lstStyle/>
          <a:p>
            <a:r>
              <a:rPr lang="en-US" dirty="0"/>
              <a:t>Resul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8B7799-BB67-51E1-46A1-1628DA9022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34770" y="1111029"/>
            <a:ext cx="4997630" cy="6093976"/>
          </a:xfrm>
        </p:spPr>
        <p:txBody>
          <a:bodyPr/>
          <a:lstStyle/>
          <a:p>
            <a:r>
              <a:rPr lang="en-US" sz="1800" dirty="0"/>
              <a:t>Study Activation: December 2013</a:t>
            </a:r>
          </a:p>
          <a:p>
            <a:r>
              <a:rPr lang="en-US" sz="1800" dirty="0"/>
              <a:t>Study Termination: October 20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772 pts were screened, 488 were enroll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Median age 51 yea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CR/</a:t>
            </a:r>
            <a:r>
              <a:rPr lang="en-US" sz="1800" dirty="0" err="1"/>
              <a:t>CRi</a:t>
            </a:r>
            <a:r>
              <a:rPr lang="en-US" sz="1800" dirty="0"/>
              <a:t> rate after induction was 81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224 MRD-negative pts were randomized, 112 in each a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22 pts in each arm proceeded to allogeneic H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After blin approval for MRD+ in March 2018, MRD+ subjects were no longer randomized, but assigned to Arm 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No new safety signals were noted</a:t>
            </a:r>
          </a:p>
          <a:p>
            <a:endParaRPr lang="en-US" sz="18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9F074D9-412C-4E39-977E-030ED279F5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8668" y="483576"/>
            <a:ext cx="6191562" cy="5850467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A647A500-00BB-0A14-1760-9C30D915F7BD}"/>
              </a:ext>
            </a:extLst>
          </p:cNvPr>
          <p:cNvSpPr/>
          <p:nvPr/>
        </p:nvSpPr>
        <p:spPr>
          <a:xfrm flipH="1" flipV="1">
            <a:off x="11710669" y="127008"/>
            <a:ext cx="310896" cy="310896"/>
          </a:xfrm>
          <a:prstGeom prst="ellipse">
            <a:avLst/>
          </a:prstGeom>
          <a:solidFill>
            <a:srgbClr val="0063C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B881F95-E41B-26BC-DDB6-819B934729E3}"/>
              </a:ext>
            </a:extLst>
          </p:cNvPr>
          <p:cNvGrpSpPr/>
          <p:nvPr/>
        </p:nvGrpSpPr>
        <p:grpSpPr>
          <a:xfrm>
            <a:off x="11766669" y="192116"/>
            <a:ext cx="198897" cy="180681"/>
            <a:chOff x="10602113" y="6516461"/>
            <a:chExt cx="200063" cy="181743"/>
          </a:xfrm>
          <a:solidFill>
            <a:srgbClr val="FFFFFF"/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99DD5E38-F9A7-45F8-1B79-A5A355E5C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6199" y="6562955"/>
              <a:ext cx="151306" cy="135249"/>
            </a:xfrm>
            <a:custGeom>
              <a:avLst/>
              <a:gdLst>
                <a:gd name="T0" fmla="*/ 0 w 878"/>
                <a:gd name="T1" fmla="*/ 541 h 786"/>
                <a:gd name="T2" fmla="*/ 0 w 878"/>
                <a:gd name="T3" fmla="*/ 327 h 786"/>
                <a:gd name="T4" fmla="*/ 18 w 878"/>
                <a:gd name="T5" fmla="*/ 292 h 786"/>
                <a:gd name="T6" fmla="*/ 421 w 878"/>
                <a:gd name="T7" fmla="*/ 10 h 786"/>
                <a:gd name="T8" fmla="*/ 460 w 878"/>
                <a:gd name="T9" fmla="*/ 10 h 786"/>
                <a:gd name="T10" fmla="*/ 860 w 878"/>
                <a:gd name="T11" fmla="*/ 290 h 786"/>
                <a:gd name="T12" fmla="*/ 878 w 878"/>
                <a:gd name="T13" fmla="*/ 325 h 786"/>
                <a:gd name="T14" fmla="*/ 878 w 878"/>
                <a:gd name="T15" fmla="*/ 755 h 786"/>
                <a:gd name="T16" fmla="*/ 848 w 878"/>
                <a:gd name="T17" fmla="*/ 786 h 786"/>
                <a:gd name="T18" fmla="*/ 582 w 878"/>
                <a:gd name="T19" fmla="*/ 786 h 786"/>
                <a:gd name="T20" fmla="*/ 552 w 878"/>
                <a:gd name="T21" fmla="*/ 755 h 786"/>
                <a:gd name="T22" fmla="*/ 552 w 878"/>
                <a:gd name="T23" fmla="*/ 405 h 786"/>
                <a:gd name="T24" fmla="*/ 520 w 878"/>
                <a:gd name="T25" fmla="*/ 372 h 786"/>
                <a:gd name="T26" fmla="*/ 354 w 878"/>
                <a:gd name="T27" fmla="*/ 372 h 786"/>
                <a:gd name="T28" fmla="*/ 329 w 878"/>
                <a:gd name="T29" fmla="*/ 398 h 786"/>
                <a:gd name="T30" fmla="*/ 329 w 878"/>
                <a:gd name="T31" fmla="*/ 750 h 786"/>
                <a:gd name="T32" fmla="*/ 294 w 878"/>
                <a:gd name="T33" fmla="*/ 786 h 786"/>
                <a:gd name="T34" fmla="*/ 32 w 878"/>
                <a:gd name="T35" fmla="*/ 786 h 786"/>
                <a:gd name="T36" fmla="*/ 0 w 878"/>
                <a:gd name="T37" fmla="*/ 753 h 786"/>
                <a:gd name="T38" fmla="*/ 0 w 878"/>
                <a:gd name="T39" fmla="*/ 541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78" h="786">
                  <a:moveTo>
                    <a:pt x="0" y="541"/>
                  </a:moveTo>
                  <a:cubicBezTo>
                    <a:pt x="0" y="470"/>
                    <a:pt x="1" y="398"/>
                    <a:pt x="0" y="327"/>
                  </a:cubicBezTo>
                  <a:cubicBezTo>
                    <a:pt x="0" y="311"/>
                    <a:pt x="5" y="301"/>
                    <a:pt x="18" y="292"/>
                  </a:cubicBezTo>
                  <a:cubicBezTo>
                    <a:pt x="152" y="198"/>
                    <a:pt x="287" y="104"/>
                    <a:pt x="421" y="10"/>
                  </a:cubicBezTo>
                  <a:cubicBezTo>
                    <a:pt x="435" y="0"/>
                    <a:pt x="446" y="0"/>
                    <a:pt x="460" y="10"/>
                  </a:cubicBezTo>
                  <a:cubicBezTo>
                    <a:pt x="593" y="104"/>
                    <a:pt x="726" y="197"/>
                    <a:pt x="860" y="290"/>
                  </a:cubicBezTo>
                  <a:cubicBezTo>
                    <a:pt x="873" y="299"/>
                    <a:pt x="878" y="309"/>
                    <a:pt x="878" y="325"/>
                  </a:cubicBezTo>
                  <a:cubicBezTo>
                    <a:pt x="878" y="468"/>
                    <a:pt x="878" y="612"/>
                    <a:pt x="878" y="755"/>
                  </a:cubicBezTo>
                  <a:cubicBezTo>
                    <a:pt x="878" y="781"/>
                    <a:pt x="874" y="786"/>
                    <a:pt x="848" y="786"/>
                  </a:cubicBezTo>
                  <a:cubicBezTo>
                    <a:pt x="759" y="786"/>
                    <a:pt x="670" y="786"/>
                    <a:pt x="582" y="786"/>
                  </a:cubicBezTo>
                  <a:cubicBezTo>
                    <a:pt x="555" y="786"/>
                    <a:pt x="552" y="782"/>
                    <a:pt x="552" y="755"/>
                  </a:cubicBezTo>
                  <a:cubicBezTo>
                    <a:pt x="552" y="638"/>
                    <a:pt x="552" y="522"/>
                    <a:pt x="552" y="405"/>
                  </a:cubicBezTo>
                  <a:cubicBezTo>
                    <a:pt x="552" y="373"/>
                    <a:pt x="552" y="372"/>
                    <a:pt x="520" y="372"/>
                  </a:cubicBezTo>
                  <a:cubicBezTo>
                    <a:pt x="465" y="372"/>
                    <a:pt x="409" y="373"/>
                    <a:pt x="354" y="372"/>
                  </a:cubicBezTo>
                  <a:cubicBezTo>
                    <a:pt x="335" y="372"/>
                    <a:pt x="328" y="379"/>
                    <a:pt x="329" y="398"/>
                  </a:cubicBezTo>
                  <a:cubicBezTo>
                    <a:pt x="329" y="515"/>
                    <a:pt x="329" y="632"/>
                    <a:pt x="329" y="750"/>
                  </a:cubicBezTo>
                  <a:cubicBezTo>
                    <a:pt x="329" y="783"/>
                    <a:pt x="327" y="786"/>
                    <a:pt x="294" y="786"/>
                  </a:cubicBezTo>
                  <a:cubicBezTo>
                    <a:pt x="207" y="786"/>
                    <a:pt x="119" y="786"/>
                    <a:pt x="32" y="786"/>
                  </a:cubicBezTo>
                  <a:cubicBezTo>
                    <a:pt x="4" y="786"/>
                    <a:pt x="0" y="781"/>
                    <a:pt x="0" y="753"/>
                  </a:cubicBezTo>
                  <a:cubicBezTo>
                    <a:pt x="0" y="682"/>
                    <a:pt x="0" y="612"/>
                    <a:pt x="0" y="5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9722E9C9-52A0-55FA-F499-4CBA9E6CE7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2113" y="6516461"/>
              <a:ext cx="200063" cy="93134"/>
            </a:xfrm>
            <a:custGeom>
              <a:avLst/>
              <a:gdLst>
                <a:gd name="T0" fmla="*/ 580 w 1161"/>
                <a:gd name="T1" fmla="*/ 1 h 541"/>
                <a:gd name="T2" fmla="*/ 601 w 1161"/>
                <a:gd name="T3" fmla="*/ 10 h 541"/>
                <a:gd name="T4" fmla="*/ 1141 w 1161"/>
                <a:gd name="T5" fmla="*/ 388 h 541"/>
                <a:gd name="T6" fmla="*/ 1147 w 1161"/>
                <a:gd name="T7" fmla="*/ 428 h 541"/>
                <a:gd name="T8" fmla="*/ 1085 w 1161"/>
                <a:gd name="T9" fmla="*/ 516 h 541"/>
                <a:gd name="T10" fmla="*/ 1041 w 1161"/>
                <a:gd name="T11" fmla="*/ 524 h 541"/>
                <a:gd name="T12" fmla="*/ 685 w 1161"/>
                <a:gd name="T13" fmla="*/ 274 h 541"/>
                <a:gd name="T14" fmla="*/ 600 w 1161"/>
                <a:gd name="T15" fmla="*/ 214 h 541"/>
                <a:gd name="T16" fmla="*/ 561 w 1161"/>
                <a:gd name="T17" fmla="*/ 214 h 541"/>
                <a:gd name="T18" fmla="*/ 126 w 1161"/>
                <a:gd name="T19" fmla="*/ 519 h 541"/>
                <a:gd name="T20" fmla="*/ 70 w 1161"/>
                <a:gd name="T21" fmla="*/ 508 h 541"/>
                <a:gd name="T22" fmla="*/ 12 w 1161"/>
                <a:gd name="T23" fmla="*/ 426 h 541"/>
                <a:gd name="T24" fmla="*/ 19 w 1161"/>
                <a:gd name="T25" fmla="*/ 388 h 541"/>
                <a:gd name="T26" fmla="*/ 561 w 1161"/>
                <a:gd name="T27" fmla="*/ 9 h 541"/>
                <a:gd name="T28" fmla="*/ 580 w 1161"/>
                <a:gd name="T29" fmla="*/ 1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61" h="541">
                  <a:moveTo>
                    <a:pt x="580" y="1"/>
                  </a:moveTo>
                  <a:cubicBezTo>
                    <a:pt x="589" y="1"/>
                    <a:pt x="595" y="6"/>
                    <a:pt x="601" y="10"/>
                  </a:cubicBezTo>
                  <a:cubicBezTo>
                    <a:pt x="781" y="136"/>
                    <a:pt x="961" y="262"/>
                    <a:pt x="1141" y="388"/>
                  </a:cubicBezTo>
                  <a:cubicBezTo>
                    <a:pt x="1160" y="401"/>
                    <a:pt x="1161" y="408"/>
                    <a:pt x="1147" y="428"/>
                  </a:cubicBezTo>
                  <a:cubicBezTo>
                    <a:pt x="1127" y="457"/>
                    <a:pt x="1106" y="487"/>
                    <a:pt x="1085" y="516"/>
                  </a:cubicBezTo>
                  <a:cubicBezTo>
                    <a:pt x="1070" y="538"/>
                    <a:pt x="1064" y="539"/>
                    <a:pt x="1041" y="524"/>
                  </a:cubicBezTo>
                  <a:cubicBezTo>
                    <a:pt x="922" y="440"/>
                    <a:pt x="804" y="357"/>
                    <a:pt x="685" y="274"/>
                  </a:cubicBezTo>
                  <a:cubicBezTo>
                    <a:pt x="656" y="254"/>
                    <a:pt x="627" y="235"/>
                    <a:pt x="600" y="214"/>
                  </a:cubicBezTo>
                  <a:cubicBezTo>
                    <a:pt x="586" y="203"/>
                    <a:pt x="576" y="203"/>
                    <a:pt x="561" y="214"/>
                  </a:cubicBezTo>
                  <a:cubicBezTo>
                    <a:pt x="416" y="316"/>
                    <a:pt x="271" y="417"/>
                    <a:pt x="126" y="519"/>
                  </a:cubicBezTo>
                  <a:cubicBezTo>
                    <a:pt x="94" y="541"/>
                    <a:pt x="92" y="541"/>
                    <a:pt x="70" y="508"/>
                  </a:cubicBezTo>
                  <a:cubicBezTo>
                    <a:pt x="51" y="481"/>
                    <a:pt x="31" y="454"/>
                    <a:pt x="12" y="426"/>
                  </a:cubicBezTo>
                  <a:cubicBezTo>
                    <a:pt x="0" y="408"/>
                    <a:pt x="1" y="401"/>
                    <a:pt x="19" y="388"/>
                  </a:cubicBezTo>
                  <a:cubicBezTo>
                    <a:pt x="200" y="262"/>
                    <a:pt x="380" y="135"/>
                    <a:pt x="561" y="9"/>
                  </a:cubicBezTo>
                  <a:cubicBezTo>
                    <a:pt x="567" y="5"/>
                    <a:pt x="573" y="0"/>
                    <a:pt x="58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7" name="Oval 16">
            <a:extLst>
              <a:ext uri="{FF2B5EF4-FFF2-40B4-BE49-F238E27FC236}">
                <a16:creationId xmlns:a16="http://schemas.microsoft.com/office/drawing/2014/main" id="{D3508944-2B77-6ED4-94C7-AFE931B7C2EB}"/>
              </a:ext>
            </a:extLst>
          </p:cNvPr>
          <p:cNvSpPr/>
          <p:nvPr/>
        </p:nvSpPr>
        <p:spPr>
          <a:xfrm flipH="1" flipV="1">
            <a:off x="11337736" y="127008"/>
            <a:ext cx="310896" cy="310896"/>
          </a:xfrm>
          <a:prstGeom prst="ellipse">
            <a:avLst/>
          </a:prstGeom>
          <a:solidFill>
            <a:srgbClr val="0063C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74500BED-20C3-E91B-59C4-9F58CEF4CB67}"/>
              </a:ext>
            </a:extLst>
          </p:cNvPr>
          <p:cNvSpPr/>
          <p:nvPr/>
        </p:nvSpPr>
        <p:spPr>
          <a:xfrm>
            <a:off x="11402846" y="192117"/>
            <a:ext cx="180678" cy="180680"/>
          </a:xfrm>
          <a:custGeom>
            <a:avLst/>
            <a:gdLst>
              <a:gd name="connsiteX0" fmla="*/ 109532 w 3182112"/>
              <a:gd name="connsiteY0" fmla="*/ 0 h 3182111"/>
              <a:gd name="connsiteX1" fmla="*/ 3072580 w 3182112"/>
              <a:gd name="connsiteY1" fmla="*/ 0 h 3182111"/>
              <a:gd name="connsiteX2" fmla="*/ 3182112 w 3182112"/>
              <a:gd name="connsiteY2" fmla="*/ 109532 h 3182111"/>
              <a:gd name="connsiteX3" fmla="*/ 3182112 w 3182112"/>
              <a:gd name="connsiteY3" fmla="*/ 3072580 h 3182111"/>
              <a:gd name="connsiteX4" fmla="*/ 3072580 w 3182112"/>
              <a:gd name="connsiteY4" fmla="*/ 3182112 h 3182111"/>
              <a:gd name="connsiteX5" fmla="*/ 109532 w 3182112"/>
              <a:gd name="connsiteY5" fmla="*/ 3182112 h 3182111"/>
              <a:gd name="connsiteX6" fmla="*/ 0 w 3182112"/>
              <a:gd name="connsiteY6" fmla="*/ 3072580 h 3182111"/>
              <a:gd name="connsiteX7" fmla="*/ 0 w 3182112"/>
              <a:gd name="connsiteY7" fmla="*/ 109532 h 3182111"/>
              <a:gd name="connsiteX8" fmla="*/ 109532 w 3182112"/>
              <a:gd name="connsiteY8" fmla="*/ 0 h 3182111"/>
              <a:gd name="connsiteX9" fmla="*/ 1069848 w 3182112"/>
              <a:gd name="connsiteY9" fmla="*/ 1700784 h 3182111"/>
              <a:gd name="connsiteX10" fmla="*/ 2715768 w 3182112"/>
              <a:gd name="connsiteY10" fmla="*/ 1700784 h 3182111"/>
              <a:gd name="connsiteX11" fmla="*/ 2825486 w 3182112"/>
              <a:gd name="connsiteY11" fmla="*/ 1591066 h 3182111"/>
              <a:gd name="connsiteX12" fmla="*/ 2715768 w 3182112"/>
              <a:gd name="connsiteY12" fmla="*/ 1481348 h 3182111"/>
              <a:gd name="connsiteX13" fmla="*/ 1069848 w 3182112"/>
              <a:gd name="connsiteY13" fmla="*/ 1481348 h 3182111"/>
              <a:gd name="connsiteX14" fmla="*/ 960130 w 3182112"/>
              <a:gd name="connsiteY14" fmla="*/ 1591066 h 3182111"/>
              <a:gd name="connsiteX15" fmla="*/ 1069848 w 3182112"/>
              <a:gd name="connsiteY15" fmla="*/ 1700784 h 3182111"/>
              <a:gd name="connsiteX16" fmla="*/ 1069848 w 3182112"/>
              <a:gd name="connsiteY16" fmla="*/ 2359142 h 3182111"/>
              <a:gd name="connsiteX17" fmla="*/ 2715768 w 3182112"/>
              <a:gd name="connsiteY17" fmla="*/ 2359142 h 3182111"/>
              <a:gd name="connsiteX18" fmla="*/ 2825486 w 3182112"/>
              <a:gd name="connsiteY18" fmla="*/ 2249424 h 3182111"/>
              <a:gd name="connsiteX19" fmla="*/ 2715768 w 3182112"/>
              <a:gd name="connsiteY19" fmla="*/ 2139706 h 3182111"/>
              <a:gd name="connsiteX20" fmla="*/ 1069848 w 3182112"/>
              <a:gd name="connsiteY20" fmla="*/ 2139706 h 3182111"/>
              <a:gd name="connsiteX21" fmla="*/ 960130 w 3182112"/>
              <a:gd name="connsiteY21" fmla="*/ 2249424 h 3182111"/>
              <a:gd name="connsiteX22" fmla="*/ 1069848 w 3182112"/>
              <a:gd name="connsiteY22" fmla="*/ 2359142 h 3182111"/>
              <a:gd name="connsiteX23" fmla="*/ 1069848 w 3182112"/>
              <a:gd name="connsiteY23" fmla="*/ 1042406 h 3182111"/>
              <a:gd name="connsiteX24" fmla="*/ 2715768 w 3182112"/>
              <a:gd name="connsiteY24" fmla="*/ 1042406 h 3182111"/>
              <a:gd name="connsiteX25" fmla="*/ 2825486 w 3182112"/>
              <a:gd name="connsiteY25" fmla="*/ 932688 h 3182111"/>
              <a:gd name="connsiteX26" fmla="*/ 2715768 w 3182112"/>
              <a:gd name="connsiteY26" fmla="*/ 822970 h 3182111"/>
              <a:gd name="connsiteX27" fmla="*/ 1069848 w 3182112"/>
              <a:gd name="connsiteY27" fmla="*/ 822970 h 3182111"/>
              <a:gd name="connsiteX28" fmla="*/ 960130 w 3182112"/>
              <a:gd name="connsiteY28" fmla="*/ 932688 h 3182111"/>
              <a:gd name="connsiteX29" fmla="*/ 1069848 w 3182112"/>
              <a:gd name="connsiteY29" fmla="*/ 1042406 h 3182111"/>
              <a:gd name="connsiteX30" fmla="*/ 356606 w 3182112"/>
              <a:gd name="connsiteY30" fmla="*/ 932688 h 3182111"/>
              <a:gd name="connsiteX31" fmla="*/ 576043 w 3182112"/>
              <a:gd name="connsiteY31" fmla="*/ 1152124 h 3182111"/>
              <a:gd name="connsiteX32" fmla="*/ 795518 w 3182112"/>
              <a:gd name="connsiteY32" fmla="*/ 932688 h 3182111"/>
              <a:gd name="connsiteX33" fmla="*/ 576043 w 3182112"/>
              <a:gd name="connsiteY33" fmla="*/ 713212 h 3182111"/>
              <a:gd name="connsiteX34" fmla="*/ 356606 w 3182112"/>
              <a:gd name="connsiteY34" fmla="*/ 932688 h 3182111"/>
              <a:gd name="connsiteX35" fmla="*/ 493766 w 3182112"/>
              <a:gd name="connsiteY35" fmla="*/ 932688 h 3182111"/>
              <a:gd name="connsiteX36" fmla="*/ 576043 w 3182112"/>
              <a:gd name="connsiteY36" fmla="*/ 850372 h 3182111"/>
              <a:gd name="connsiteX37" fmla="*/ 658368 w 3182112"/>
              <a:gd name="connsiteY37" fmla="*/ 932688 h 3182111"/>
              <a:gd name="connsiteX38" fmla="*/ 576043 w 3182112"/>
              <a:gd name="connsiteY38" fmla="*/ 1014964 h 3182111"/>
              <a:gd name="connsiteX39" fmla="*/ 493766 w 3182112"/>
              <a:gd name="connsiteY39" fmla="*/ 932688 h 3182111"/>
              <a:gd name="connsiteX40" fmla="*/ 356606 w 3182112"/>
              <a:gd name="connsiteY40" fmla="*/ 1591046 h 3182111"/>
              <a:gd name="connsiteX41" fmla="*/ 576043 w 3182112"/>
              <a:gd name="connsiteY41" fmla="*/ 1810483 h 3182111"/>
              <a:gd name="connsiteX42" fmla="*/ 795518 w 3182112"/>
              <a:gd name="connsiteY42" fmla="*/ 1591046 h 3182111"/>
              <a:gd name="connsiteX43" fmla="*/ 576043 w 3182112"/>
              <a:gd name="connsiteY43" fmla="*/ 1371610 h 3182111"/>
              <a:gd name="connsiteX44" fmla="*/ 356606 w 3182112"/>
              <a:gd name="connsiteY44" fmla="*/ 1591046 h 3182111"/>
              <a:gd name="connsiteX45" fmla="*/ 493766 w 3182112"/>
              <a:gd name="connsiteY45" fmla="*/ 1591046 h 3182111"/>
              <a:gd name="connsiteX46" fmla="*/ 576043 w 3182112"/>
              <a:gd name="connsiteY46" fmla="*/ 1508770 h 3182111"/>
              <a:gd name="connsiteX47" fmla="*/ 658368 w 3182112"/>
              <a:gd name="connsiteY47" fmla="*/ 1591046 h 3182111"/>
              <a:gd name="connsiteX48" fmla="*/ 576043 w 3182112"/>
              <a:gd name="connsiteY48" fmla="*/ 1673323 h 3182111"/>
              <a:gd name="connsiteX49" fmla="*/ 493766 w 3182112"/>
              <a:gd name="connsiteY49" fmla="*/ 1591046 h 3182111"/>
              <a:gd name="connsiteX50" fmla="*/ 356606 w 3182112"/>
              <a:gd name="connsiteY50" fmla="*/ 2249405 h 3182111"/>
              <a:gd name="connsiteX51" fmla="*/ 576043 w 3182112"/>
              <a:gd name="connsiteY51" fmla="*/ 2468880 h 3182111"/>
              <a:gd name="connsiteX52" fmla="*/ 795518 w 3182112"/>
              <a:gd name="connsiteY52" fmla="*/ 2249405 h 3182111"/>
              <a:gd name="connsiteX53" fmla="*/ 576043 w 3182112"/>
              <a:gd name="connsiteY53" fmla="*/ 2029968 h 3182111"/>
              <a:gd name="connsiteX54" fmla="*/ 356606 w 3182112"/>
              <a:gd name="connsiteY54" fmla="*/ 2249405 h 3182111"/>
              <a:gd name="connsiteX55" fmla="*/ 493766 w 3182112"/>
              <a:gd name="connsiteY55" fmla="*/ 2249405 h 3182111"/>
              <a:gd name="connsiteX56" fmla="*/ 576043 w 3182112"/>
              <a:gd name="connsiteY56" fmla="*/ 2167128 h 3182111"/>
              <a:gd name="connsiteX57" fmla="*/ 658368 w 3182112"/>
              <a:gd name="connsiteY57" fmla="*/ 2249405 h 3182111"/>
              <a:gd name="connsiteX58" fmla="*/ 576043 w 3182112"/>
              <a:gd name="connsiteY58" fmla="*/ 2331720 h 3182111"/>
              <a:gd name="connsiteX59" fmla="*/ 493766 w 3182112"/>
              <a:gd name="connsiteY59" fmla="*/ 2249405 h 3182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3182112" h="3182111">
                <a:moveTo>
                  <a:pt x="109532" y="0"/>
                </a:moveTo>
                <a:lnTo>
                  <a:pt x="3072580" y="0"/>
                </a:lnTo>
                <a:cubicBezTo>
                  <a:pt x="3133430" y="0"/>
                  <a:pt x="3182112" y="49025"/>
                  <a:pt x="3182112" y="109532"/>
                </a:cubicBezTo>
                <a:lnTo>
                  <a:pt x="3182112" y="3072580"/>
                </a:lnTo>
                <a:cubicBezTo>
                  <a:pt x="3182112" y="3133430"/>
                  <a:pt x="3133087" y="3182112"/>
                  <a:pt x="3072580" y="3182112"/>
                </a:cubicBezTo>
                <a:lnTo>
                  <a:pt x="109532" y="3182112"/>
                </a:lnTo>
                <a:cubicBezTo>
                  <a:pt x="48682" y="3182112"/>
                  <a:pt x="0" y="3133087"/>
                  <a:pt x="0" y="3072580"/>
                </a:cubicBezTo>
                <a:lnTo>
                  <a:pt x="0" y="109532"/>
                </a:lnTo>
                <a:cubicBezTo>
                  <a:pt x="0" y="48682"/>
                  <a:pt x="49025" y="0"/>
                  <a:pt x="109532" y="0"/>
                </a:cubicBezTo>
                <a:close/>
                <a:moveTo>
                  <a:pt x="1069848" y="1700784"/>
                </a:moveTo>
                <a:lnTo>
                  <a:pt x="2715768" y="1700784"/>
                </a:lnTo>
                <a:cubicBezTo>
                  <a:pt x="2776354" y="1700784"/>
                  <a:pt x="2825486" y="1651681"/>
                  <a:pt x="2825486" y="1591066"/>
                </a:cubicBezTo>
                <a:cubicBezTo>
                  <a:pt x="2825486" y="1530451"/>
                  <a:pt x="2776344" y="1481348"/>
                  <a:pt x="2715768" y="1481348"/>
                </a:cubicBezTo>
                <a:lnTo>
                  <a:pt x="1069848" y="1481348"/>
                </a:lnTo>
                <a:cubicBezTo>
                  <a:pt x="1009223" y="1481348"/>
                  <a:pt x="960130" y="1530451"/>
                  <a:pt x="960130" y="1591066"/>
                </a:cubicBezTo>
                <a:cubicBezTo>
                  <a:pt x="960130" y="1651681"/>
                  <a:pt x="1009233" y="1700784"/>
                  <a:pt x="1069848" y="1700784"/>
                </a:cubicBezTo>
                <a:close/>
                <a:moveTo>
                  <a:pt x="1069848" y="2359142"/>
                </a:moveTo>
                <a:lnTo>
                  <a:pt x="2715768" y="2359142"/>
                </a:lnTo>
                <a:cubicBezTo>
                  <a:pt x="2776354" y="2359142"/>
                  <a:pt x="2825486" y="2310039"/>
                  <a:pt x="2825486" y="2249424"/>
                </a:cubicBezTo>
                <a:cubicBezTo>
                  <a:pt x="2825486" y="2188839"/>
                  <a:pt x="2776344" y="2139706"/>
                  <a:pt x="2715768" y="2139706"/>
                </a:cubicBezTo>
                <a:lnTo>
                  <a:pt x="1069848" y="2139706"/>
                </a:lnTo>
                <a:cubicBezTo>
                  <a:pt x="1009223" y="2139706"/>
                  <a:pt x="960130" y="2188848"/>
                  <a:pt x="960130" y="2249424"/>
                </a:cubicBezTo>
                <a:cubicBezTo>
                  <a:pt x="960130" y="2310049"/>
                  <a:pt x="1009233" y="2359142"/>
                  <a:pt x="1069848" y="2359142"/>
                </a:cubicBezTo>
                <a:close/>
                <a:moveTo>
                  <a:pt x="1069848" y="1042406"/>
                </a:moveTo>
                <a:lnTo>
                  <a:pt x="2715768" y="1042406"/>
                </a:lnTo>
                <a:cubicBezTo>
                  <a:pt x="2776354" y="1042406"/>
                  <a:pt x="2825486" y="993264"/>
                  <a:pt x="2825486" y="932688"/>
                </a:cubicBezTo>
                <a:cubicBezTo>
                  <a:pt x="2825486" y="872073"/>
                  <a:pt x="2776344" y="822970"/>
                  <a:pt x="2715768" y="822970"/>
                </a:cubicBezTo>
                <a:lnTo>
                  <a:pt x="1069848" y="822970"/>
                </a:lnTo>
                <a:cubicBezTo>
                  <a:pt x="1009223" y="822970"/>
                  <a:pt x="960130" y="872073"/>
                  <a:pt x="960130" y="932688"/>
                </a:cubicBezTo>
                <a:cubicBezTo>
                  <a:pt x="960130" y="993274"/>
                  <a:pt x="1009233" y="1042406"/>
                  <a:pt x="1069848" y="1042406"/>
                </a:cubicBezTo>
                <a:close/>
                <a:moveTo>
                  <a:pt x="356606" y="932688"/>
                </a:moveTo>
                <a:cubicBezTo>
                  <a:pt x="356606" y="1053624"/>
                  <a:pt x="454842" y="1152124"/>
                  <a:pt x="576043" y="1152124"/>
                </a:cubicBezTo>
                <a:cubicBezTo>
                  <a:pt x="697018" y="1152124"/>
                  <a:pt x="795518" y="1053889"/>
                  <a:pt x="795518" y="932688"/>
                </a:cubicBezTo>
                <a:cubicBezTo>
                  <a:pt x="795518" y="811713"/>
                  <a:pt x="697243" y="713212"/>
                  <a:pt x="576043" y="713212"/>
                </a:cubicBezTo>
                <a:cubicBezTo>
                  <a:pt x="455107" y="713212"/>
                  <a:pt x="356606" y="811488"/>
                  <a:pt x="356606" y="932688"/>
                </a:cubicBezTo>
                <a:close/>
                <a:moveTo>
                  <a:pt x="493766" y="932688"/>
                </a:moveTo>
                <a:cubicBezTo>
                  <a:pt x="493766" y="887337"/>
                  <a:pt x="530731" y="850372"/>
                  <a:pt x="576043" y="850372"/>
                </a:cubicBezTo>
                <a:cubicBezTo>
                  <a:pt x="621394" y="850372"/>
                  <a:pt x="658368" y="887376"/>
                  <a:pt x="658368" y="932688"/>
                </a:cubicBezTo>
                <a:cubicBezTo>
                  <a:pt x="658368" y="978039"/>
                  <a:pt x="621354" y="1014964"/>
                  <a:pt x="576043" y="1014964"/>
                </a:cubicBezTo>
                <a:cubicBezTo>
                  <a:pt x="530731" y="1014964"/>
                  <a:pt x="493766" y="978000"/>
                  <a:pt x="493766" y="932688"/>
                </a:cubicBezTo>
                <a:close/>
                <a:moveTo>
                  <a:pt x="356606" y="1591046"/>
                </a:moveTo>
                <a:cubicBezTo>
                  <a:pt x="356606" y="1712021"/>
                  <a:pt x="454842" y="1810483"/>
                  <a:pt x="576043" y="1810483"/>
                </a:cubicBezTo>
                <a:cubicBezTo>
                  <a:pt x="697018" y="1810483"/>
                  <a:pt x="795518" y="1712247"/>
                  <a:pt x="795518" y="1591046"/>
                </a:cubicBezTo>
                <a:cubicBezTo>
                  <a:pt x="795518" y="1470071"/>
                  <a:pt x="697243" y="1371610"/>
                  <a:pt x="576043" y="1371610"/>
                </a:cubicBezTo>
                <a:cubicBezTo>
                  <a:pt x="455107" y="1371610"/>
                  <a:pt x="356606" y="1469846"/>
                  <a:pt x="356606" y="1591046"/>
                </a:cubicBezTo>
                <a:close/>
                <a:moveTo>
                  <a:pt x="493766" y="1591046"/>
                </a:moveTo>
                <a:cubicBezTo>
                  <a:pt x="493766" y="1545695"/>
                  <a:pt x="530731" y="1508770"/>
                  <a:pt x="576043" y="1508770"/>
                </a:cubicBezTo>
                <a:cubicBezTo>
                  <a:pt x="621394" y="1508770"/>
                  <a:pt x="658368" y="1545734"/>
                  <a:pt x="658368" y="1591046"/>
                </a:cubicBezTo>
                <a:cubicBezTo>
                  <a:pt x="658368" y="1636397"/>
                  <a:pt x="621354" y="1673323"/>
                  <a:pt x="576043" y="1673323"/>
                </a:cubicBezTo>
                <a:cubicBezTo>
                  <a:pt x="530731" y="1673323"/>
                  <a:pt x="493766" y="1636358"/>
                  <a:pt x="493766" y="1591046"/>
                </a:cubicBezTo>
                <a:close/>
                <a:moveTo>
                  <a:pt x="356606" y="2249405"/>
                </a:moveTo>
                <a:cubicBezTo>
                  <a:pt x="356606" y="2370380"/>
                  <a:pt x="454842" y="2468880"/>
                  <a:pt x="576043" y="2468880"/>
                </a:cubicBezTo>
                <a:cubicBezTo>
                  <a:pt x="697018" y="2468880"/>
                  <a:pt x="795518" y="2370605"/>
                  <a:pt x="795518" y="2249405"/>
                </a:cubicBezTo>
                <a:cubicBezTo>
                  <a:pt x="795518" y="2128469"/>
                  <a:pt x="697243" y="2029968"/>
                  <a:pt x="576043" y="2029968"/>
                </a:cubicBezTo>
                <a:cubicBezTo>
                  <a:pt x="455107" y="2029968"/>
                  <a:pt x="356606" y="2128204"/>
                  <a:pt x="356606" y="2249405"/>
                </a:cubicBezTo>
                <a:close/>
                <a:moveTo>
                  <a:pt x="493766" y="2249405"/>
                </a:moveTo>
                <a:cubicBezTo>
                  <a:pt x="493766" y="2204054"/>
                  <a:pt x="530731" y="2167128"/>
                  <a:pt x="576043" y="2167128"/>
                </a:cubicBezTo>
                <a:cubicBezTo>
                  <a:pt x="621394" y="2167128"/>
                  <a:pt x="658368" y="2204093"/>
                  <a:pt x="658368" y="2249405"/>
                </a:cubicBezTo>
                <a:cubicBezTo>
                  <a:pt x="658368" y="2294755"/>
                  <a:pt x="621354" y="2331720"/>
                  <a:pt x="576043" y="2331720"/>
                </a:cubicBezTo>
                <a:cubicBezTo>
                  <a:pt x="530731" y="2331720"/>
                  <a:pt x="493766" y="2294716"/>
                  <a:pt x="493766" y="2249405"/>
                </a:cubicBezTo>
                <a:close/>
              </a:path>
            </a:pathLst>
          </a:custGeom>
          <a:solidFill>
            <a:srgbClr val="FFFFFF"/>
          </a:solidFill>
          <a:ln w="97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Oval 18">
            <a:hlinkClick r:id="" action="ppaction://noaction"/>
            <a:extLst>
              <a:ext uri="{FF2B5EF4-FFF2-40B4-BE49-F238E27FC236}">
                <a16:creationId xmlns:a16="http://schemas.microsoft.com/office/drawing/2014/main" id="{3EA88618-EB93-6DCA-FEC5-4F2CF9193AA4}"/>
              </a:ext>
            </a:extLst>
          </p:cNvPr>
          <p:cNvSpPr/>
          <p:nvPr/>
        </p:nvSpPr>
        <p:spPr>
          <a:xfrm flipH="1" flipV="1">
            <a:off x="11337736" y="127008"/>
            <a:ext cx="310896" cy="310896"/>
          </a:xfrm>
          <a:prstGeom prst="ellipse">
            <a:avLst/>
          </a:prstGeom>
          <a:noFill/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Oval 19">
            <a:hlinkClick r:id="rId3" action="ppaction://hlinksldjump"/>
            <a:extLst>
              <a:ext uri="{FF2B5EF4-FFF2-40B4-BE49-F238E27FC236}">
                <a16:creationId xmlns:a16="http://schemas.microsoft.com/office/drawing/2014/main" id="{BAA4A95F-0126-01BA-2D32-123D05B15A62}"/>
              </a:ext>
            </a:extLst>
          </p:cNvPr>
          <p:cNvSpPr/>
          <p:nvPr/>
        </p:nvSpPr>
        <p:spPr>
          <a:xfrm flipH="1" flipV="1">
            <a:off x="11710669" y="127008"/>
            <a:ext cx="310896" cy="310896"/>
          </a:xfrm>
          <a:prstGeom prst="ellipse">
            <a:avLst/>
          </a:prstGeom>
          <a:noFill/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7B8C461-56A1-6234-D839-94949E7EECB7}"/>
              </a:ext>
            </a:extLst>
          </p:cNvPr>
          <p:cNvSpPr/>
          <p:nvPr/>
        </p:nvSpPr>
        <p:spPr>
          <a:xfrm>
            <a:off x="5338114" y="2560320"/>
            <a:ext cx="2814964" cy="377372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981646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7345C-C065-5515-469F-62A406832C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8B7799-BB67-51E1-46A1-1628DA9022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2001" y="1358426"/>
            <a:ext cx="10820082" cy="923330"/>
          </a:xfrm>
        </p:spPr>
        <p:txBody>
          <a:bodyPr/>
          <a:lstStyle/>
          <a:p>
            <a:r>
              <a:rPr lang="en-US" sz="2000" dirty="0"/>
              <a:t>OS for MRD-negative patients (presented at ASH 2022)</a:t>
            </a:r>
          </a:p>
          <a:p>
            <a:endParaRPr lang="en-US" sz="2000" dirty="0"/>
          </a:p>
          <a:p>
            <a:endParaRPr lang="en-US" sz="2000" dirty="0"/>
          </a:p>
        </p:txBody>
      </p:sp>
      <p:pic>
        <p:nvPicPr>
          <p:cNvPr id="4" name="Content Placeholder 13">
            <a:extLst>
              <a:ext uri="{FF2B5EF4-FFF2-40B4-BE49-F238E27FC236}">
                <a16:creationId xmlns:a16="http://schemas.microsoft.com/office/drawing/2014/main" id="{CC3F759C-B656-DEF0-3C7A-5085880615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0541" y="1820091"/>
            <a:ext cx="7959895" cy="503790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67B11AB-0553-5482-8B30-5215C9F1BA9E}"/>
              </a:ext>
            </a:extLst>
          </p:cNvPr>
          <p:cNvSpPr txBox="1"/>
          <p:nvPr/>
        </p:nvSpPr>
        <p:spPr>
          <a:xfrm>
            <a:off x="550818" y="2915117"/>
            <a:ext cx="407343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Median OS: not reached (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Blin+Chemo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) vs 71.4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mo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(Chemo)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azard ratio 0.42, 95% CI: 0.24-0.75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g rank test, p=0.00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68B3E6E-CF17-E828-5ECC-BFAF63D2211D}"/>
              </a:ext>
            </a:extLst>
          </p:cNvPr>
          <p:cNvSpPr/>
          <p:nvPr/>
        </p:nvSpPr>
        <p:spPr>
          <a:xfrm flipH="1" flipV="1">
            <a:off x="11710669" y="127008"/>
            <a:ext cx="310896" cy="310896"/>
          </a:xfrm>
          <a:prstGeom prst="ellipse">
            <a:avLst/>
          </a:prstGeom>
          <a:solidFill>
            <a:srgbClr val="0063C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B805AC8-7936-2AF5-000F-5E6D25A986B2}"/>
              </a:ext>
            </a:extLst>
          </p:cNvPr>
          <p:cNvGrpSpPr/>
          <p:nvPr/>
        </p:nvGrpSpPr>
        <p:grpSpPr>
          <a:xfrm>
            <a:off x="11766669" y="192116"/>
            <a:ext cx="198897" cy="180681"/>
            <a:chOff x="10602113" y="6516461"/>
            <a:chExt cx="200063" cy="181743"/>
          </a:xfrm>
          <a:solidFill>
            <a:srgbClr val="FFFFFF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1B01B1F3-73D8-71D5-11EF-5491305534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6199" y="6562955"/>
              <a:ext cx="151306" cy="135249"/>
            </a:xfrm>
            <a:custGeom>
              <a:avLst/>
              <a:gdLst>
                <a:gd name="T0" fmla="*/ 0 w 878"/>
                <a:gd name="T1" fmla="*/ 541 h 786"/>
                <a:gd name="T2" fmla="*/ 0 w 878"/>
                <a:gd name="T3" fmla="*/ 327 h 786"/>
                <a:gd name="T4" fmla="*/ 18 w 878"/>
                <a:gd name="T5" fmla="*/ 292 h 786"/>
                <a:gd name="T6" fmla="*/ 421 w 878"/>
                <a:gd name="T7" fmla="*/ 10 h 786"/>
                <a:gd name="T8" fmla="*/ 460 w 878"/>
                <a:gd name="T9" fmla="*/ 10 h 786"/>
                <a:gd name="T10" fmla="*/ 860 w 878"/>
                <a:gd name="T11" fmla="*/ 290 h 786"/>
                <a:gd name="T12" fmla="*/ 878 w 878"/>
                <a:gd name="T13" fmla="*/ 325 h 786"/>
                <a:gd name="T14" fmla="*/ 878 w 878"/>
                <a:gd name="T15" fmla="*/ 755 h 786"/>
                <a:gd name="T16" fmla="*/ 848 w 878"/>
                <a:gd name="T17" fmla="*/ 786 h 786"/>
                <a:gd name="T18" fmla="*/ 582 w 878"/>
                <a:gd name="T19" fmla="*/ 786 h 786"/>
                <a:gd name="T20" fmla="*/ 552 w 878"/>
                <a:gd name="T21" fmla="*/ 755 h 786"/>
                <a:gd name="T22" fmla="*/ 552 w 878"/>
                <a:gd name="T23" fmla="*/ 405 h 786"/>
                <a:gd name="T24" fmla="*/ 520 w 878"/>
                <a:gd name="T25" fmla="*/ 372 h 786"/>
                <a:gd name="T26" fmla="*/ 354 w 878"/>
                <a:gd name="T27" fmla="*/ 372 h 786"/>
                <a:gd name="T28" fmla="*/ 329 w 878"/>
                <a:gd name="T29" fmla="*/ 398 h 786"/>
                <a:gd name="T30" fmla="*/ 329 w 878"/>
                <a:gd name="T31" fmla="*/ 750 h 786"/>
                <a:gd name="T32" fmla="*/ 294 w 878"/>
                <a:gd name="T33" fmla="*/ 786 h 786"/>
                <a:gd name="T34" fmla="*/ 32 w 878"/>
                <a:gd name="T35" fmla="*/ 786 h 786"/>
                <a:gd name="T36" fmla="*/ 0 w 878"/>
                <a:gd name="T37" fmla="*/ 753 h 786"/>
                <a:gd name="T38" fmla="*/ 0 w 878"/>
                <a:gd name="T39" fmla="*/ 541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78" h="786">
                  <a:moveTo>
                    <a:pt x="0" y="541"/>
                  </a:moveTo>
                  <a:cubicBezTo>
                    <a:pt x="0" y="470"/>
                    <a:pt x="1" y="398"/>
                    <a:pt x="0" y="327"/>
                  </a:cubicBezTo>
                  <a:cubicBezTo>
                    <a:pt x="0" y="311"/>
                    <a:pt x="5" y="301"/>
                    <a:pt x="18" y="292"/>
                  </a:cubicBezTo>
                  <a:cubicBezTo>
                    <a:pt x="152" y="198"/>
                    <a:pt x="287" y="104"/>
                    <a:pt x="421" y="10"/>
                  </a:cubicBezTo>
                  <a:cubicBezTo>
                    <a:pt x="435" y="0"/>
                    <a:pt x="446" y="0"/>
                    <a:pt x="460" y="10"/>
                  </a:cubicBezTo>
                  <a:cubicBezTo>
                    <a:pt x="593" y="104"/>
                    <a:pt x="726" y="197"/>
                    <a:pt x="860" y="290"/>
                  </a:cubicBezTo>
                  <a:cubicBezTo>
                    <a:pt x="873" y="299"/>
                    <a:pt x="878" y="309"/>
                    <a:pt x="878" y="325"/>
                  </a:cubicBezTo>
                  <a:cubicBezTo>
                    <a:pt x="878" y="468"/>
                    <a:pt x="878" y="612"/>
                    <a:pt x="878" y="755"/>
                  </a:cubicBezTo>
                  <a:cubicBezTo>
                    <a:pt x="878" y="781"/>
                    <a:pt x="874" y="786"/>
                    <a:pt x="848" y="786"/>
                  </a:cubicBezTo>
                  <a:cubicBezTo>
                    <a:pt x="759" y="786"/>
                    <a:pt x="670" y="786"/>
                    <a:pt x="582" y="786"/>
                  </a:cubicBezTo>
                  <a:cubicBezTo>
                    <a:pt x="555" y="786"/>
                    <a:pt x="552" y="782"/>
                    <a:pt x="552" y="755"/>
                  </a:cubicBezTo>
                  <a:cubicBezTo>
                    <a:pt x="552" y="638"/>
                    <a:pt x="552" y="522"/>
                    <a:pt x="552" y="405"/>
                  </a:cubicBezTo>
                  <a:cubicBezTo>
                    <a:pt x="552" y="373"/>
                    <a:pt x="552" y="372"/>
                    <a:pt x="520" y="372"/>
                  </a:cubicBezTo>
                  <a:cubicBezTo>
                    <a:pt x="465" y="372"/>
                    <a:pt x="409" y="373"/>
                    <a:pt x="354" y="372"/>
                  </a:cubicBezTo>
                  <a:cubicBezTo>
                    <a:pt x="335" y="372"/>
                    <a:pt x="328" y="379"/>
                    <a:pt x="329" y="398"/>
                  </a:cubicBezTo>
                  <a:cubicBezTo>
                    <a:pt x="329" y="515"/>
                    <a:pt x="329" y="632"/>
                    <a:pt x="329" y="750"/>
                  </a:cubicBezTo>
                  <a:cubicBezTo>
                    <a:pt x="329" y="783"/>
                    <a:pt x="327" y="786"/>
                    <a:pt x="294" y="786"/>
                  </a:cubicBezTo>
                  <a:cubicBezTo>
                    <a:pt x="207" y="786"/>
                    <a:pt x="119" y="786"/>
                    <a:pt x="32" y="786"/>
                  </a:cubicBezTo>
                  <a:cubicBezTo>
                    <a:pt x="4" y="786"/>
                    <a:pt x="0" y="781"/>
                    <a:pt x="0" y="753"/>
                  </a:cubicBezTo>
                  <a:cubicBezTo>
                    <a:pt x="0" y="682"/>
                    <a:pt x="0" y="612"/>
                    <a:pt x="0" y="5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52EAACCD-39CA-5C5F-16EA-3C21824BC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2113" y="6516461"/>
              <a:ext cx="200063" cy="93134"/>
            </a:xfrm>
            <a:custGeom>
              <a:avLst/>
              <a:gdLst>
                <a:gd name="T0" fmla="*/ 580 w 1161"/>
                <a:gd name="T1" fmla="*/ 1 h 541"/>
                <a:gd name="T2" fmla="*/ 601 w 1161"/>
                <a:gd name="T3" fmla="*/ 10 h 541"/>
                <a:gd name="T4" fmla="*/ 1141 w 1161"/>
                <a:gd name="T5" fmla="*/ 388 h 541"/>
                <a:gd name="T6" fmla="*/ 1147 w 1161"/>
                <a:gd name="T7" fmla="*/ 428 h 541"/>
                <a:gd name="T8" fmla="*/ 1085 w 1161"/>
                <a:gd name="T9" fmla="*/ 516 h 541"/>
                <a:gd name="T10" fmla="*/ 1041 w 1161"/>
                <a:gd name="T11" fmla="*/ 524 h 541"/>
                <a:gd name="T12" fmla="*/ 685 w 1161"/>
                <a:gd name="T13" fmla="*/ 274 h 541"/>
                <a:gd name="T14" fmla="*/ 600 w 1161"/>
                <a:gd name="T15" fmla="*/ 214 h 541"/>
                <a:gd name="T16" fmla="*/ 561 w 1161"/>
                <a:gd name="T17" fmla="*/ 214 h 541"/>
                <a:gd name="T18" fmla="*/ 126 w 1161"/>
                <a:gd name="T19" fmla="*/ 519 h 541"/>
                <a:gd name="T20" fmla="*/ 70 w 1161"/>
                <a:gd name="T21" fmla="*/ 508 h 541"/>
                <a:gd name="T22" fmla="*/ 12 w 1161"/>
                <a:gd name="T23" fmla="*/ 426 h 541"/>
                <a:gd name="T24" fmla="*/ 19 w 1161"/>
                <a:gd name="T25" fmla="*/ 388 h 541"/>
                <a:gd name="T26" fmla="*/ 561 w 1161"/>
                <a:gd name="T27" fmla="*/ 9 h 541"/>
                <a:gd name="T28" fmla="*/ 580 w 1161"/>
                <a:gd name="T29" fmla="*/ 1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61" h="541">
                  <a:moveTo>
                    <a:pt x="580" y="1"/>
                  </a:moveTo>
                  <a:cubicBezTo>
                    <a:pt x="589" y="1"/>
                    <a:pt x="595" y="6"/>
                    <a:pt x="601" y="10"/>
                  </a:cubicBezTo>
                  <a:cubicBezTo>
                    <a:pt x="781" y="136"/>
                    <a:pt x="961" y="262"/>
                    <a:pt x="1141" y="388"/>
                  </a:cubicBezTo>
                  <a:cubicBezTo>
                    <a:pt x="1160" y="401"/>
                    <a:pt x="1161" y="408"/>
                    <a:pt x="1147" y="428"/>
                  </a:cubicBezTo>
                  <a:cubicBezTo>
                    <a:pt x="1127" y="457"/>
                    <a:pt x="1106" y="487"/>
                    <a:pt x="1085" y="516"/>
                  </a:cubicBezTo>
                  <a:cubicBezTo>
                    <a:pt x="1070" y="538"/>
                    <a:pt x="1064" y="539"/>
                    <a:pt x="1041" y="524"/>
                  </a:cubicBezTo>
                  <a:cubicBezTo>
                    <a:pt x="922" y="440"/>
                    <a:pt x="804" y="357"/>
                    <a:pt x="685" y="274"/>
                  </a:cubicBezTo>
                  <a:cubicBezTo>
                    <a:pt x="656" y="254"/>
                    <a:pt x="627" y="235"/>
                    <a:pt x="600" y="214"/>
                  </a:cubicBezTo>
                  <a:cubicBezTo>
                    <a:pt x="586" y="203"/>
                    <a:pt x="576" y="203"/>
                    <a:pt x="561" y="214"/>
                  </a:cubicBezTo>
                  <a:cubicBezTo>
                    <a:pt x="416" y="316"/>
                    <a:pt x="271" y="417"/>
                    <a:pt x="126" y="519"/>
                  </a:cubicBezTo>
                  <a:cubicBezTo>
                    <a:pt x="94" y="541"/>
                    <a:pt x="92" y="541"/>
                    <a:pt x="70" y="508"/>
                  </a:cubicBezTo>
                  <a:cubicBezTo>
                    <a:pt x="51" y="481"/>
                    <a:pt x="31" y="454"/>
                    <a:pt x="12" y="426"/>
                  </a:cubicBezTo>
                  <a:cubicBezTo>
                    <a:pt x="0" y="408"/>
                    <a:pt x="1" y="401"/>
                    <a:pt x="19" y="388"/>
                  </a:cubicBezTo>
                  <a:cubicBezTo>
                    <a:pt x="200" y="262"/>
                    <a:pt x="380" y="135"/>
                    <a:pt x="561" y="9"/>
                  </a:cubicBezTo>
                  <a:cubicBezTo>
                    <a:pt x="567" y="5"/>
                    <a:pt x="573" y="0"/>
                    <a:pt x="58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8" name="Oval 17">
            <a:extLst>
              <a:ext uri="{FF2B5EF4-FFF2-40B4-BE49-F238E27FC236}">
                <a16:creationId xmlns:a16="http://schemas.microsoft.com/office/drawing/2014/main" id="{C095D086-4D74-A054-683C-F7A93C700CDF}"/>
              </a:ext>
            </a:extLst>
          </p:cNvPr>
          <p:cNvSpPr/>
          <p:nvPr/>
        </p:nvSpPr>
        <p:spPr>
          <a:xfrm flipH="1" flipV="1">
            <a:off x="11337736" y="127008"/>
            <a:ext cx="310896" cy="310896"/>
          </a:xfrm>
          <a:prstGeom prst="ellipse">
            <a:avLst/>
          </a:prstGeom>
          <a:solidFill>
            <a:srgbClr val="0063C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4DC31CB9-8E54-FEC7-C4BB-71CA57608661}"/>
              </a:ext>
            </a:extLst>
          </p:cNvPr>
          <p:cNvSpPr/>
          <p:nvPr/>
        </p:nvSpPr>
        <p:spPr>
          <a:xfrm>
            <a:off x="11402846" y="192117"/>
            <a:ext cx="180678" cy="180680"/>
          </a:xfrm>
          <a:custGeom>
            <a:avLst/>
            <a:gdLst>
              <a:gd name="connsiteX0" fmla="*/ 109532 w 3182112"/>
              <a:gd name="connsiteY0" fmla="*/ 0 h 3182111"/>
              <a:gd name="connsiteX1" fmla="*/ 3072580 w 3182112"/>
              <a:gd name="connsiteY1" fmla="*/ 0 h 3182111"/>
              <a:gd name="connsiteX2" fmla="*/ 3182112 w 3182112"/>
              <a:gd name="connsiteY2" fmla="*/ 109532 h 3182111"/>
              <a:gd name="connsiteX3" fmla="*/ 3182112 w 3182112"/>
              <a:gd name="connsiteY3" fmla="*/ 3072580 h 3182111"/>
              <a:gd name="connsiteX4" fmla="*/ 3072580 w 3182112"/>
              <a:gd name="connsiteY4" fmla="*/ 3182112 h 3182111"/>
              <a:gd name="connsiteX5" fmla="*/ 109532 w 3182112"/>
              <a:gd name="connsiteY5" fmla="*/ 3182112 h 3182111"/>
              <a:gd name="connsiteX6" fmla="*/ 0 w 3182112"/>
              <a:gd name="connsiteY6" fmla="*/ 3072580 h 3182111"/>
              <a:gd name="connsiteX7" fmla="*/ 0 w 3182112"/>
              <a:gd name="connsiteY7" fmla="*/ 109532 h 3182111"/>
              <a:gd name="connsiteX8" fmla="*/ 109532 w 3182112"/>
              <a:gd name="connsiteY8" fmla="*/ 0 h 3182111"/>
              <a:gd name="connsiteX9" fmla="*/ 1069848 w 3182112"/>
              <a:gd name="connsiteY9" fmla="*/ 1700784 h 3182111"/>
              <a:gd name="connsiteX10" fmla="*/ 2715768 w 3182112"/>
              <a:gd name="connsiteY10" fmla="*/ 1700784 h 3182111"/>
              <a:gd name="connsiteX11" fmla="*/ 2825486 w 3182112"/>
              <a:gd name="connsiteY11" fmla="*/ 1591066 h 3182111"/>
              <a:gd name="connsiteX12" fmla="*/ 2715768 w 3182112"/>
              <a:gd name="connsiteY12" fmla="*/ 1481348 h 3182111"/>
              <a:gd name="connsiteX13" fmla="*/ 1069848 w 3182112"/>
              <a:gd name="connsiteY13" fmla="*/ 1481348 h 3182111"/>
              <a:gd name="connsiteX14" fmla="*/ 960130 w 3182112"/>
              <a:gd name="connsiteY14" fmla="*/ 1591066 h 3182111"/>
              <a:gd name="connsiteX15" fmla="*/ 1069848 w 3182112"/>
              <a:gd name="connsiteY15" fmla="*/ 1700784 h 3182111"/>
              <a:gd name="connsiteX16" fmla="*/ 1069848 w 3182112"/>
              <a:gd name="connsiteY16" fmla="*/ 2359142 h 3182111"/>
              <a:gd name="connsiteX17" fmla="*/ 2715768 w 3182112"/>
              <a:gd name="connsiteY17" fmla="*/ 2359142 h 3182111"/>
              <a:gd name="connsiteX18" fmla="*/ 2825486 w 3182112"/>
              <a:gd name="connsiteY18" fmla="*/ 2249424 h 3182111"/>
              <a:gd name="connsiteX19" fmla="*/ 2715768 w 3182112"/>
              <a:gd name="connsiteY19" fmla="*/ 2139706 h 3182111"/>
              <a:gd name="connsiteX20" fmla="*/ 1069848 w 3182112"/>
              <a:gd name="connsiteY20" fmla="*/ 2139706 h 3182111"/>
              <a:gd name="connsiteX21" fmla="*/ 960130 w 3182112"/>
              <a:gd name="connsiteY21" fmla="*/ 2249424 h 3182111"/>
              <a:gd name="connsiteX22" fmla="*/ 1069848 w 3182112"/>
              <a:gd name="connsiteY22" fmla="*/ 2359142 h 3182111"/>
              <a:gd name="connsiteX23" fmla="*/ 1069848 w 3182112"/>
              <a:gd name="connsiteY23" fmla="*/ 1042406 h 3182111"/>
              <a:gd name="connsiteX24" fmla="*/ 2715768 w 3182112"/>
              <a:gd name="connsiteY24" fmla="*/ 1042406 h 3182111"/>
              <a:gd name="connsiteX25" fmla="*/ 2825486 w 3182112"/>
              <a:gd name="connsiteY25" fmla="*/ 932688 h 3182111"/>
              <a:gd name="connsiteX26" fmla="*/ 2715768 w 3182112"/>
              <a:gd name="connsiteY26" fmla="*/ 822970 h 3182111"/>
              <a:gd name="connsiteX27" fmla="*/ 1069848 w 3182112"/>
              <a:gd name="connsiteY27" fmla="*/ 822970 h 3182111"/>
              <a:gd name="connsiteX28" fmla="*/ 960130 w 3182112"/>
              <a:gd name="connsiteY28" fmla="*/ 932688 h 3182111"/>
              <a:gd name="connsiteX29" fmla="*/ 1069848 w 3182112"/>
              <a:gd name="connsiteY29" fmla="*/ 1042406 h 3182111"/>
              <a:gd name="connsiteX30" fmla="*/ 356606 w 3182112"/>
              <a:gd name="connsiteY30" fmla="*/ 932688 h 3182111"/>
              <a:gd name="connsiteX31" fmla="*/ 576043 w 3182112"/>
              <a:gd name="connsiteY31" fmla="*/ 1152124 h 3182111"/>
              <a:gd name="connsiteX32" fmla="*/ 795518 w 3182112"/>
              <a:gd name="connsiteY32" fmla="*/ 932688 h 3182111"/>
              <a:gd name="connsiteX33" fmla="*/ 576043 w 3182112"/>
              <a:gd name="connsiteY33" fmla="*/ 713212 h 3182111"/>
              <a:gd name="connsiteX34" fmla="*/ 356606 w 3182112"/>
              <a:gd name="connsiteY34" fmla="*/ 932688 h 3182111"/>
              <a:gd name="connsiteX35" fmla="*/ 493766 w 3182112"/>
              <a:gd name="connsiteY35" fmla="*/ 932688 h 3182111"/>
              <a:gd name="connsiteX36" fmla="*/ 576043 w 3182112"/>
              <a:gd name="connsiteY36" fmla="*/ 850372 h 3182111"/>
              <a:gd name="connsiteX37" fmla="*/ 658368 w 3182112"/>
              <a:gd name="connsiteY37" fmla="*/ 932688 h 3182111"/>
              <a:gd name="connsiteX38" fmla="*/ 576043 w 3182112"/>
              <a:gd name="connsiteY38" fmla="*/ 1014964 h 3182111"/>
              <a:gd name="connsiteX39" fmla="*/ 493766 w 3182112"/>
              <a:gd name="connsiteY39" fmla="*/ 932688 h 3182111"/>
              <a:gd name="connsiteX40" fmla="*/ 356606 w 3182112"/>
              <a:gd name="connsiteY40" fmla="*/ 1591046 h 3182111"/>
              <a:gd name="connsiteX41" fmla="*/ 576043 w 3182112"/>
              <a:gd name="connsiteY41" fmla="*/ 1810483 h 3182111"/>
              <a:gd name="connsiteX42" fmla="*/ 795518 w 3182112"/>
              <a:gd name="connsiteY42" fmla="*/ 1591046 h 3182111"/>
              <a:gd name="connsiteX43" fmla="*/ 576043 w 3182112"/>
              <a:gd name="connsiteY43" fmla="*/ 1371610 h 3182111"/>
              <a:gd name="connsiteX44" fmla="*/ 356606 w 3182112"/>
              <a:gd name="connsiteY44" fmla="*/ 1591046 h 3182111"/>
              <a:gd name="connsiteX45" fmla="*/ 493766 w 3182112"/>
              <a:gd name="connsiteY45" fmla="*/ 1591046 h 3182111"/>
              <a:gd name="connsiteX46" fmla="*/ 576043 w 3182112"/>
              <a:gd name="connsiteY46" fmla="*/ 1508770 h 3182111"/>
              <a:gd name="connsiteX47" fmla="*/ 658368 w 3182112"/>
              <a:gd name="connsiteY47" fmla="*/ 1591046 h 3182111"/>
              <a:gd name="connsiteX48" fmla="*/ 576043 w 3182112"/>
              <a:gd name="connsiteY48" fmla="*/ 1673323 h 3182111"/>
              <a:gd name="connsiteX49" fmla="*/ 493766 w 3182112"/>
              <a:gd name="connsiteY49" fmla="*/ 1591046 h 3182111"/>
              <a:gd name="connsiteX50" fmla="*/ 356606 w 3182112"/>
              <a:gd name="connsiteY50" fmla="*/ 2249405 h 3182111"/>
              <a:gd name="connsiteX51" fmla="*/ 576043 w 3182112"/>
              <a:gd name="connsiteY51" fmla="*/ 2468880 h 3182111"/>
              <a:gd name="connsiteX52" fmla="*/ 795518 w 3182112"/>
              <a:gd name="connsiteY52" fmla="*/ 2249405 h 3182111"/>
              <a:gd name="connsiteX53" fmla="*/ 576043 w 3182112"/>
              <a:gd name="connsiteY53" fmla="*/ 2029968 h 3182111"/>
              <a:gd name="connsiteX54" fmla="*/ 356606 w 3182112"/>
              <a:gd name="connsiteY54" fmla="*/ 2249405 h 3182111"/>
              <a:gd name="connsiteX55" fmla="*/ 493766 w 3182112"/>
              <a:gd name="connsiteY55" fmla="*/ 2249405 h 3182111"/>
              <a:gd name="connsiteX56" fmla="*/ 576043 w 3182112"/>
              <a:gd name="connsiteY56" fmla="*/ 2167128 h 3182111"/>
              <a:gd name="connsiteX57" fmla="*/ 658368 w 3182112"/>
              <a:gd name="connsiteY57" fmla="*/ 2249405 h 3182111"/>
              <a:gd name="connsiteX58" fmla="*/ 576043 w 3182112"/>
              <a:gd name="connsiteY58" fmla="*/ 2331720 h 3182111"/>
              <a:gd name="connsiteX59" fmla="*/ 493766 w 3182112"/>
              <a:gd name="connsiteY59" fmla="*/ 2249405 h 3182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3182112" h="3182111">
                <a:moveTo>
                  <a:pt x="109532" y="0"/>
                </a:moveTo>
                <a:lnTo>
                  <a:pt x="3072580" y="0"/>
                </a:lnTo>
                <a:cubicBezTo>
                  <a:pt x="3133430" y="0"/>
                  <a:pt x="3182112" y="49025"/>
                  <a:pt x="3182112" y="109532"/>
                </a:cubicBezTo>
                <a:lnTo>
                  <a:pt x="3182112" y="3072580"/>
                </a:lnTo>
                <a:cubicBezTo>
                  <a:pt x="3182112" y="3133430"/>
                  <a:pt x="3133087" y="3182112"/>
                  <a:pt x="3072580" y="3182112"/>
                </a:cubicBezTo>
                <a:lnTo>
                  <a:pt x="109532" y="3182112"/>
                </a:lnTo>
                <a:cubicBezTo>
                  <a:pt x="48682" y="3182112"/>
                  <a:pt x="0" y="3133087"/>
                  <a:pt x="0" y="3072580"/>
                </a:cubicBezTo>
                <a:lnTo>
                  <a:pt x="0" y="109532"/>
                </a:lnTo>
                <a:cubicBezTo>
                  <a:pt x="0" y="48682"/>
                  <a:pt x="49025" y="0"/>
                  <a:pt x="109532" y="0"/>
                </a:cubicBezTo>
                <a:close/>
                <a:moveTo>
                  <a:pt x="1069848" y="1700784"/>
                </a:moveTo>
                <a:lnTo>
                  <a:pt x="2715768" y="1700784"/>
                </a:lnTo>
                <a:cubicBezTo>
                  <a:pt x="2776354" y="1700784"/>
                  <a:pt x="2825486" y="1651681"/>
                  <a:pt x="2825486" y="1591066"/>
                </a:cubicBezTo>
                <a:cubicBezTo>
                  <a:pt x="2825486" y="1530451"/>
                  <a:pt x="2776344" y="1481348"/>
                  <a:pt x="2715768" y="1481348"/>
                </a:cubicBezTo>
                <a:lnTo>
                  <a:pt x="1069848" y="1481348"/>
                </a:lnTo>
                <a:cubicBezTo>
                  <a:pt x="1009223" y="1481348"/>
                  <a:pt x="960130" y="1530451"/>
                  <a:pt x="960130" y="1591066"/>
                </a:cubicBezTo>
                <a:cubicBezTo>
                  <a:pt x="960130" y="1651681"/>
                  <a:pt x="1009233" y="1700784"/>
                  <a:pt x="1069848" y="1700784"/>
                </a:cubicBezTo>
                <a:close/>
                <a:moveTo>
                  <a:pt x="1069848" y="2359142"/>
                </a:moveTo>
                <a:lnTo>
                  <a:pt x="2715768" y="2359142"/>
                </a:lnTo>
                <a:cubicBezTo>
                  <a:pt x="2776354" y="2359142"/>
                  <a:pt x="2825486" y="2310039"/>
                  <a:pt x="2825486" y="2249424"/>
                </a:cubicBezTo>
                <a:cubicBezTo>
                  <a:pt x="2825486" y="2188839"/>
                  <a:pt x="2776344" y="2139706"/>
                  <a:pt x="2715768" y="2139706"/>
                </a:cubicBezTo>
                <a:lnTo>
                  <a:pt x="1069848" y="2139706"/>
                </a:lnTo>
                <a:cubicBezTo>
                  <a:pt x="1009223" y="2139706"/>
                  <a:pt x="960130" y="2188848"/>
                  <a:pt x="960130" y="2249424"/>
                </a:cubicBezTo>
                <a:cubicBezTo>
                  <a:pt x="960130" y="2310049"/>
                  <a:pt x="1009233" y="2359142"/>
                  <a:pt x="1069848" y="2359142"/>
                </a:cubicBezTo>
                <a:close/>
                <a:moveTo>
                  <a:pt x="1069848" y="1042406"/>
                </a:moveTo>
                <a:lnTo>
                  <a:pt x="2715768" y="1042406"/>
                </a:lnTo>
                <a:cubicBezTo>
                  <a:pt x="2776354" y="1042406"/>
                  <a:pt x="2825486" y="993264"/>
                  <a:pt x="2825486" y="932688"/>
                </a:cubicBezTo>
                <a:cubicBezTo>
                  <a:pt x="2825486" y="872073"/>
                  <a:pt x="2776344" y="822970"/>
                  <a:pt x="2715768" y="822970"/>
                </a:cubicBezTo>
                <a:lnTo>
                  <a:pt x="1069848" y="822970"/>
                </a:lnTo>
                <a:cubicBezTo>
                  <a:pt x="1009223" y="822970"/>
                  <a:pt x="960130" y="872073"/>
                  <a:pt x="960130" y="932688"/>
                </a:cubicBezTo>
                <a:cubicBezTo>
                  <a:pt x="960130" y="993274"/>
                  <a:pt x="1009233" y="1042406"/>
                  <a:pt x="1069848" y="1042406"/>
                </a:cubicBezTo>
                <a:close/>
                <a:moveTo>
                  <a:pt x="356606" y="932688"/>
                </a:moveTo>
                <a:cubicBezTo>
                  <a:pt x="356606" y="1053624"/>
                  <a:pt x="454842" y="1152124"/>
                  <a:pt x="576043" y="1152124"/>
                </a:cubicBezTo>
                <a:cubicBezTo>
                  <a:pt x="697018" y="1152124"/>
                  <a:pt x="795518" y="1053889"/>
                  <a:pt x="795518" y="932688"/>
                </a:cubicBezTo>
                <a:cubicBezTo>
                  <a:pt x="795518" y="811713"/>
                  <a:pt x="697243" y="713212"/>
                  <a:pt x="576043" y="713212"/>
                </a:cubicBezTo>
                <a:cubicBezTo>
                  <a:pt x="455107" y="713212"/>
                  <a:pt x="356606" y="811488"/>
                  <a:pt x="356606" y="932688"/>
                </a:cubicBezTo>
                <a:close/>
                <a:moveTo>
                  <a:pt x="493766" y="932688"/>
                </a:moveTo>
                <a:cubicBezTo>
                  <a:pt x="493766" y="887337"/>
                  <a:pt x="530731" y="850372"/>
                  <a:pt x="576043" y="850372"/>
                </a:cubicBezTo>
                <a:cubicBezTo>
                  <a:pt x="621394" y="850372"/>
                  <a:pt x="658368" y="887376"/>
                  <a:pt x="658368" y="932688"/>
                </a:cubicBezTo>
                <a:cubicBezTo>
                  <a:pt x="658368" y="978039"/>
                  <a:pt x="621354" y="1014964"/>
                  <a:pt x="576043" y="1014964"/>
                </a:cubicBezTo>
                <a:cubicBezTo>
                  <a:pt x="530731" y="1014964"/>
                  <a:pt x="493766" y="978000"/>
                  <a:pt x="493766" y="932688"/>
                </a:cubicBezTo>
                <a:close/>
                <a:moveTo>
                  <a:pt x="356606" y="1591046"/>
                </a:moveTo>
                <a:cubicBezTo>
                  <a:pt x="356606" y="1712021"/>
                  <a:pt x="454842" y="1810483"/>
                  <a:pt x="576043" y="1810483"/>
                </a:cubicBezTo>
                <a:cubicBezTo>
                  <a:pt x="697018" y="1810483"/>
                  <a:pt x="795518" y="1712247"/>
                  <a:pt x="795518" y="1591046"/>
                </a:cubicBezTo>
                <a:cubicBezTo>
                  <a:pt x="795518" y="1470071"/>
                  <a:pt x="697243" y="1371610"/>
                  <a:pt x="576043" y="1371610"/>
                </a:cubicBezTo>
                <a:cubicBezTo>
                  <a:pt x="455107" y="1371610"/>
                  <a:pt x="356606" y="1469846"/>
                  <a:pt x="356606" y="1591046"/>
                </a:cubicBezTo>
                <a:close/>
                <a:moveTo>
                  <a:pt x="493766" y="1591046"/>
                </a:moveTo>
                <a:cubicBezTo>
                  <a:pt x="493766" y="1545695"/>
                  <a:pt x="530731" y="1508770"/>
                  <a:pt x="576043" y="1508770"/>
                </a:cubicBezTo>
                <a:cubicBezTo>
                  <a:pt x="621394" y="1508770"/>
                  <a:pt x="658368" y="1545734"/>
                  <a:pt x="658368" y="1591046"/>
                </a:cubicBezTo>
                <a:cubicBezTo>
                  <a:pt x="658368" y="1636397"/>
                  <a:pt x="621354" y="1673323"/>
                  <a:pt x="576043" y="1673323"/>
                </a:cubicBezTo>
                <a:cubicBezTo>
                  <a:pt x="530731" y="1673323"/>
                  <a:pt x="493766" y="1636358"/>
                  <a:pt x="493766" y="1591046"/>
                </a:cubicBezTo>
                <a:close/>
                <a:moveTo>
                  <a:pt x="356606" y="2249405"/>
                </a:moveTo>
                <a:cubicBezTo>
                  <a:pt x="356606" y="2370380"/>
                  <a:pt x="454842" y="2468880"/>
                  <a:pt x="576043" y="2468880"/>
                </a:cubicBezTo>
                <a:cubicBezTo>
                  <a:pt x="697018" y="2468880"/>
                  <a:pt x="795518" y="2370605"/>
                  <a:pt x="795518" y="2249405"/>
                </a:cubicBezTo>
                <a:cubicBezTo>
                  <a:pt x="795518" y="2128469"/>
                  <a:pt x="697243" y="2029968"/>
                  <a:pt x="576043" y="2029968"/>
                </a:cubicBezTo>
                <a:cubicBezTo>
                  <a:pt x="455107" y="2029968"/>
                  <a:pt x="356606" y="2128204"/>
                  <a:pt x="356606" y="2249405"/>
                </a:cubicBezTo>
                <a:close/>
                <a:moveTo>
                  <a:pt x="493766" y="2249405"/>
                </a:moveTo>
                <a:cubicBezTo>
                  <a:pt x="493766" y="2204054"/>
                  <a:pt x="530731" y="2167128"/>
                  <a:pt x="576043" y="2167128"/>
                </a:cubicBezTo>
                <a:cubicBezTo>
                  <a:pt x="621394" y="2167128"/>
                  <a:pt x="658368" y="2204093"/>
                  <a:pt x="658368" y="2249405"/>
                </a:cubicBezTo>
                <a:cubicBezTo>
                  <a:pt x="658368" y="2294755"/>
                  <a:pt x="621354" y="2331720"/>
                  <a:pt x="576043" y="2331720"/>
                </a:cubicBezTo>
                <a:cubicBezTo>
                  <a:pt x="530731" y="2331720"/>
                  <a:pt x="493766" y="2294716"/>
                  <a:pt x="493766" y="2249405"/>
                </a:cubicBezTo>
                <a:close/>
              </a:path>
            </a:pathLst>
          </a:custGeom>
          <a:solidFill>
            <a:srgbClr val="FFFFFF"/>
          </a:solidFill>
          <a:ln w="97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0" name="Oval 19">
            <a:hlinkClick r:id="" action="ppaction://noaction"/>
            <a:extLst>
              <a:ext uri="{FF2B5EF4-FFF2-40B4-BE49-F238E27FC236}">
                <a16:creationId xmlns:a16="http://schemas.microsoft.com/office/drawing/2014/main" id="{A66BFD20-021F-F173-D2A6-1A4B3EBB54C5}"/>
              </a:ext>
            </a:extLst>
          </p:cNvPr>
          <p:cNvSpPr/>
          <p:nvPr/>
        </p:nvSpPr>
        <p:spPr>
          <a:xfrm flipH="1" flipV="1">
            <a:off x="11337736" y="127008"/>
            <a:ext cx="310896" cy="310896"/>
          </a:xfrm>
          <a:prstGeom prst="ellipse">
            <a:avLst/>
          </a:prstGeom>
          <a:noFill/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Oval 20">
            <a:hlinkClick r:id="rId3" action="ppaction://hlinksldjump"/>
            <a:extLst>
              <a:ext uri="{FF2B5EF4-FFF2-40B4-BE49-F238E27FC236}">
                <a16:creationId xmlns:a16="http://schemas.microsoft.com/office/drawing/2014/main" id="{CE8C639A-FEFB-E147-5DBF-756D4BE4D6F2}"/>
              </a:ext>
            </a:extLst>
          </p:cNvPr>
          <p:cNvSpPr/>
          <p:nvPr/>
        </p:nvSpPr>
        <p:spPr>
          <a:xfrm flipH="1" flipV="1">
            <a:off x="11710669" y="127008"/>
            <a:ext cx="310896" cy="310896"/>
          </a:xfrm>
          <a:prstGeom prst="ellipse">
            <a:avLst/>
          </a:prstGeom>
          <a:noFill/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42340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7345C-C065-5515-469F-62A406832C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8B7799-BB67-51E1-46A1-1628DA9022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2001" y="1219200"/>
            <a:ext cx="10820082" cy="276999"/>
          </a:xfrm>
        </p:spPr>
        <p:txBody>
          <a:bodyPr/>
          <a:lstStyle/>
          <a:p>
            <a:r>
              <a:rPr lang="en-US" dirty="0"/>
              <a:t>OS for MRD-negative patients stratified by age &lt; 55 years or &gt;= 55 years</a:t>
            </a:r>
          </a:p>
        </p:txBody>
      </p:sp>
      <p:pic>
        <p:nvPicPr>
          <p:cNvPr id="4" name="Picture 3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2" b="7692"/>
          <a:stretch/>
        </p:blipFill>
        <p:spPr bwMode="auto">
          <a:xfrm>
            <a:off x="78105" y="1613356"/>
            <a:ext cx="5895975" cy="42291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Picture 4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6540" y="1550169"/>
            <a:ext cx="5934075" cy="458152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Box 5"/>
          <p:cNvSpPr txBox="1"/>
          <p:nvPr/>
        </p:nvSpPr>
        <p:spPr>
          <a:xfrm>
            <a:off x="501369" y="5977654"/>
            <a:ext cx="5410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ian OS not reached both arms; HR 0.18, 95% CI: 0.06-0.52, p&lt;0.001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172042" y="5977654"/>
            <a:ext cx="5410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ian OS NR vs 71.4 months, HR 0.77, 95% CI: 0.37-1.58, p=0.47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54F1E57-3CD1-D579-0B65-87A411DB6C66}"/>
              </a:ext>
            </a:extLst>
          </p:cNvPr>
          <p:cNvSpPr/>
          <p:nvPr/>
        </p:nvSpPr>
        <p:spPr>
          <a:xfrm flipH="1" flipV="1">
            <a:off x="11710669" y="127008"/>
            <a:ext cx="310896" cy="310896"/>
          </a:xfrm>
          <a:prstGeom prst="ellipse">
            <a:avLst/>
          </a:prstGeom>
          <a:solidFill>
            <a:srgbClr val="0063C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8969F4B-54AF-C471-0951-6F0C700206CF}"/>
              </a:ext>
            </a:extLst>
          </p:cNvPr>
          <p:cNvGrpSpPr/>
          <p:nvPr/>
        </p:nvGrpSpPr>
        <p:grpSpPr>
          <a:xfrm>
            <a:off x="11766669" y="192116"/>
            <a:ext cx="198897" cy="180681"/>
            <a:chOff x="10602113" y="6516461"/>
            <a:chExt cx="200063" cy="181743"/>
          </a:xfrm>
          <a:solidFill>
            <a:srgbClr val="FFFFFF"/>
          </a:solidFill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1854B4D8-2B62-D310-E495-2FCFA5D27C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6199" y="6562955"/>
              <a:ext cx="151306" cy="135249"/>
            </a:xfrm>
            <a:custGeom>
              <a:avLst/>
              <a:gdLst>
                <a:gd name="T0" fmla="*/ 0 w 878"/>
                <a:gd name="T1" fmla="*/ 541 h 786"/>
                <a:gd name="T2" fmla="*/ 0 w 878"/>
                <a:gd name="T3" fmla="*/ 327 h 786"/>
                <a:gd name="T4" fmla="*/ 18 w 878"/>
                <a:gd name="T5" fmla="*/ 292 h 786"/>
                <a:gd name="T6" fmla="*/ 421 w 878"/>
                <a:gd name="T7" fmla="*/ 10 h 786"/>
                <a:gd name="T8" fmla="*/ 460 w 878"/>
                <a:gd name="T9" fmla="*/ 10 h 786"/>
                <a:gd name="T10" fmla="*/ 860 w 878"/>
                <a:gd name="T11" fmla="*/ 290 h 786"/>
                <a:gd name="T12" fmla="*/ 878 w 878"/>
                <a:gd name="T13" fmla="*/ 325 h 786"/>
                <a:gd name="T14" fmla="*/ 878 w 878"/>
                <a:gd name="T15" fmla="*/ 755 h 786"/>
                <a:gd name="T16" fmla="*/ 848 w 878"/>
                <a:gd name="T17" fmla="*/ 786 h 786"/>
                <a:gd name="T18" fmla="*/ 582 w 878"/>
                <a:gd name="T19" fmla="*/ 786 h 786"/>
                <a:gd name="T20" fmla="*/ 552 w 878"/>
                <a:gd name="T21" fmla="*/ 755 h 786"/>
                <a:gd name="T22" fmla="*/ 552 w 878"/>
                <a:gd name="T23" fmla="*/ 405 h 786"/>
                <a:gd name="T24" fmla="*/ 520 w 878"/>
                <a:gd name="T25" fmla="*/ 372 h 786"/>
                <a:gd name="T26" fmla="*/ 354 w 878"/>
                <a:gd name="T27" fmla="*/ 372 h 786"/>
                <a:gd name="T28" fmla="*/ 329 w 878"/>
                <a:gd name="T29" fmla="*/ 398 h 786"/>
                <a:gd name="T30" fmla="*/ 329 w 878"/>
                <a:gd name="T31" fmla="*/ 750 h 786"/>
                <a:gd name="T32" fmla="*/ 294 w 878"/>
                <a:gd name="T33" fmla="*/ 786 h 786"/>
                <a:gd name="T34" fmla="*/ 32 w 878"/>
                <a:gd name="T35" fmla="*/ 786 h 786"/>
                <a:gd name="T36" fmla="*/ 0 w 878"/>
                <a:gd name="T37" fmla="*/ 753 h 786"/>
                <a:gd name="T38" fmla="*/ 0 w 878"/>
                <a:gd name="T39" fmla="*/ 541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78" h="786">
                  <a:moveTo>
                    <a:pt x="0" y="541"/>
                  </a:moveTo>
                  <a:cubicBezTo>
                    <a:pt x="0" y="470"/>
                    <a:pt x="1" y="398"/>
                    <a:pt x="0" y="327"/>
                  </a:cubicBezTo>
                  <a:cubicBezTo>
                    <a:pt x="0" y="311"/>
                    <a:pt x="5" y="301"/>
                    <a:pt x="18" y="292"/>
                  </a:cubicBezTo>
                  <a:cubicBezTo>
                    <a:pt x="152" y="198"/>
                    <a:pt x="287" y="104"/>
                    <a:pt x="421" y="10"/>
                  </a:cubicBezTo>
                  <a:cubicBezTo>
                    <a:pt x="435" y="0"/>
                    <a:pt x="446" y="0"/>
                    <a:pt x="460" y="10"/>
                  </a:cubicBezTo>
                  <a:cubicBezTo>
                    <a:pt x="593" y="104"/>
                    <a:pt x="726" y="197"/>
                    <a:pt x="860" y="290"/>
                  </a:cubicBezTo>
                  <a:cubicBezTo>
                    <a:pt x="873" y="299"/>
                    <a:pt x="878" y="309"/>
                    <a:pt x="878" y="325"/>
                  </a:cubicBezTo>
                  <a:cubicBezTo>
                    <a:pt x="878" y="468"/>
                    <a:pt x="878" y="612"/>
                    <a:pt x="878" y="755"/>
                  </a:cubicBezTo>
                  <a:cubicBezTo>
                    <a:pt x="878" y="781"/>
                    <a:pt x="874" y="786"/>
                    <a:pt x="848" y="786"/>
                  </a:cubicBezTo>
                  <a:cubicBezTo>
                    <a:pt x="759" y="786"/>
                    <a:pt x="670" y="786"/>
                    <a:pt x="582" y="786"/>
                  </a:cubicBezTo>
                  <a:cubicBezTo>
                    <a:pt x="555" y="786"/>
                    <a:pt x="552" y="782"/>
                    <a:pt x="552" y="755"/>
                  </a:cubicBezTo>
                  <a:cubicBezTo>
                    <a:pt x="552" y="638"/>
                    <a:pt x="552" y="522"/>
                    <a:pt x="552" y="405"/>
                  </a:cubicBezTo>
                  <a:cubicBezTo>
                    <a:pt x="552" y="373"/>
                    <a:pt x="552" y="372"/>
                    <a:pt x="520" y="372"/>
                  </a:cubicBezTo>
                  <a:cubicBezTo>
                    <a:pt x="465" y="372"/>
                    <a:pt x="409" y="373"/>
                    <a:pt x="354" y="372"/>
                  </a:cubicBezTo>
                  <a:cubicBezTo>
                    <a:pt x="335" y="372"/>
                    <a:pt x="328" y="379"/>
                    <a:pt x="329" y="398"/>
                  </a:cubicBezTo>
                  <a:cubicBezTo>
                    <a:pt x="329" y="515"/>
                    <a:pt x="329" y="632"/>
                    <a:pt x="329" y="750"/>
                  </a:cubicBezTo>
                  <a:cubicBezTo>
                    <a:pt x="329" y="783"/>
                    <a:pt x="327" y="786"/>
                    <a:pt x="294" y="786"/>
                  </a:cubicBezTo>
                  <a:cubicBezTo>
                    <a:pt x="207" y="786"/>
                    <a:pt x="119" y="786"/>
                    <a:pt x="32" y="786"/>
                  </a:cubicBezTo>
                  <a:cubicBezTo>
                    <a:pt x="4" y="786"/>
                    <a:pt x="0" y="781"/>
                    <a:pt x="0" y="753"/>
                  </a:cubicBezTo>
                  <a:cubicBezTo>
                    <a:pt x="0" y="682"/>
                    <a:pt x="0" y="612"/>
                    <a:pt x="0" y="5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952B649B-91AA-23BA-C0F3-7F3AFBB098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2113" y="6516461"/>
              <a:ext cx="200063" cy="93134"/>
            </a:xfrm>
            <a:custGeom>
              <a:avLst/>
              <a:gdLst>
                <a:gd name="T0" fmla="*/ 580 w 1161"/>
                <a:gd name="T1" fmla="*/ 1 h 541"/>
                <a:gd name="T2" fmla="*/ 601 w 1161"/>
                <a:gd name="T3" fmla="*/ 10 h 541"/>
                <a:gd name="T4" fmla="*/ 1141 w 1161"/>
                <a:gd name="T5" fmla="*/ 388 h 541"/>
                <a:gd name="T6" fmla="*/ 1147 w 1161"/>
                <a:gd name="T7" fmla="*/ 428 h 541"/>
                <a:gd name="T8" fmla="*/ 1085 w 1161"/>
                <a:gd name="T9" fmla="*/ 516 h 541"/>
                <a:gd name="T10" fmla="*/ 1041 w 1161"/>
                <a:gd name="T11" fmla="*/ 524 h 541"/>
                <a:gd name="T12" fmla="*/ 685 w 1161"/>
                <a:gd name="T13" fmla="*/ 274 h 541"/>
                <a:gd name="T14" fmla="*/ 600 w 1161"/>
                <a:gd name="T15" fmla="*/ 214 h 541"/>
                <a:gd name="T16" fmla="*/ 561 w 1161"/>
                <a:gd name="T17" fmla="*/ 214 h 541"/>
                <a:gd name="T18" fmla="*/ 126 w 1161"/>
                <a:gd name="T19" fmla="*/ 519 h 541"/>
                <a:gd name="T20" fmla="*/ 70 w 1161"/>
                <a:gd name="T21" fmla="*/ 508 h 541"/>
                <a:gd name="T22" fmla="*/ 12 w 1161"/>
                <a:gd name="T23" fmla="*/ 426 h 541"/>
                <a:gd name="T24" fmla="*/ 19 w 1161"/>
                <a:gd name="T25" fmla="*/ 388 h 541"/>
                <a:gd name="T26" fmla="*/ 561 w 1161"/>
                <a:gd name="T27" fmla="*/ 9 h 541"/>
                <a:gd name="T28" fmla="*/ 580 w 1161"/>
                <a:gd name="T29" fmla="*/ 1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61" h="541">
                  <a:moveTo>
                    <a:pt x="580" y="1"/>
                  </a:moveTo>
                  <a:cubicBezTo>
                    <a:pt x="589" y="1"/>
                    <a:pt x="595" y="6"/>
                    <a:pt x="601" y="10"/>
                  </a:cubicBezTo>
                  <a:cubicBezTo>
                    <a:pt x="781" y="136"/>
                    <a:pt x="961" y="262"/>
                    <a:pt x="1141" y="388"/>
                  </a:cubicBezTo>
                  <a:cubicBezTo>
                    <a:pt x="1160" y="401"/>
                    <a:pt x="1161" y="408"/>
                    <a:pt x="1147" y="428"/>
                  </a:cubicBezTo>
                  <a:cubicBezTo>
                    <a:pt x="1127" y="457"/>
                    <a:pt x="1106" y="487"/>
                    <a:pt x="1085" y="516"/>
                  </a:cubicBezTo>
                  <a:cubicBezTo>
                    <a:pt x="1070" y="538"/>
                    <a:pt x="1064" y="539"/>
                    <a:pt x="1041" y="524"/>
                  </a:cubicBezTo>
                  <a:cubicBezTo>
                    <a:pt x="922" y="440"/>
                    <a:pt x="804" y="357"/>
                    <a:pt x="685" y="274"/>
                  </a:cubicBezTo>
                  <a:cubicBezTo>
                    <a:pt x="656" y="254"/>
                    <a:pt x="627" y="235"/>
                    <a:pt x="600" y="214"/>
                  </a:cubicBezTo>
                  <a:cubicBezTo>
                    <a:pt x="586" y="203"/>
                    <a:pt x="576" y="203"/>
                    <a:pt x="561" y="214"/>
                  </a:cubicBezTo>
                  <a:cubicBezTo>
                    <a:pt x="416" y="316"/>
                    <a:pt x="271" y="417"/>
                    <a:pt x="126" y="519"/>
                  </a:cubicBezTo>
                  <a:cubicBezTo>
                    <a:pt x="94" y="541"/>
                    <a:pt x="92" y="541"/>
                    <a:pt x="70" y="508"/>
                  </a:cubicBezTo>
                  <a:cubicBezTo>
                    <a:pt x="51" y="481"/>
                    <a:pt x="31" y="454"/>
                    <a:pt x="12" y="426"/>
                  </a:cubicBezTo>
                  <a:cubicBezTo>
                    <a:pt x="0" y="408"/>
                    <a:pt x="1" y="401"/>
                    <a:pt x="19" y="388"/>
                  </a:cubicBezTo>
                  <a:cubicBezTo>
                    <a:pt x="200" y="262"/>
                    <a:pt x="380" y="135"/>
                    <a:pt x="561" y="9"/>
                  </a:cubicBezTo>
                  <a:cubicBezTo>
                    <a:pt x="567" y="5"/>
                    <a:pt x="573" y="0"/>
                    <a:pt x="58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0" name="Oval 19">
            <a:extLst>
              <a:ext uri="{FF2B5EF4-FFF2-40B4-BE49-F238E27FC236}">
                <a16:creationId xmlns:a16="http://schemas.microsoft.com/office/drawing/2014/main" id="{6F7E556F-4A43-D9CA-80A1-D872BEA9B8CE}"/>
              </a:ext>
            </a:extLst>
          </p:cNvPr>
          <p:cNvSpPr/>
          <p:nvPr/>
        </p:nvSpPr>
        <p:spPr>
          <a:xfrm flipH="1" flipV="1">
            <a:off x="11337736" y="127008"/>
            <a:ext cx="310896" cy="310896"/>
          </a:xfrm>
          <a:prstGeom prst="ellipse">
            <a:avLst/>
          </a:prstGeom>
          <a:solidFill>
            <a:srgbClr val="0063C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403271B6-6B0E-2EE5-2135-6684EB5D67B5}"/>
              </a:ext>
            </a:extLst>
          </p:cNvPr>
          <p:cNvSpPr/>
          <p:nvPr/>
        </p:nvSpPr>
        <p:spPr>
          <a:xfrm>
            <a:off x="11402846" y="192117"/>
            <a:ext cx="180678" cy="180680"/>
          </a:xfrm>
          <a:custGeom>
            <a:avLst/>
            <a:gdLst>
              <a:gd name="connsiteX0" fmla="*/ 109532 w 3182112"/>
              <a:gd name="connsiteY0" fmla="*/ 0 h 3182111"/>
              <a:gd name="connsiteX1" fmla="*/ 3072580 w 3182112"/>
              <a:gd name="connsiteY1" fmla="*/ 0 h 3182111"/>
              <a:gd name="connsiteX2" fmla="*/ 3182112 w 3182112"/>
              <a:gd name="connsiteY2" fmla="*/ 109532 h 3182111"/>
              <a:gd name="connsiteX3" fmla="*/ 3182112 w 3182112"/>
              <a:gd name="connsiteY3" fmla="*/ 3072580 h 3182111"/>
              <a:gd name="connsiteX4" fmla="*/ 3072580 w 3182112"/>
              <a:gd name="connsiteY4" fmla="*/ 3182112 h 3182111"/>
              <a:gd name="connsiteX5" fmla="*/ 109532 w 3182112"/>
              <a:gd name="connsiteY5" fmla="*/ 3182112 h 3182111"/>
              <a:gd name="connsiteX6" fmla="*/ 0 w 3182112"/>
              <a:gd name="connsiteY6" fmla="*/ 3072580 h 3182111"/>
              <a:gd name="connsiteX7" fmla="*/ 0 w 3182112"/>
              <a:gd name="connsiteY7" fmla="*/ 109532 h 3182111"/>
              <a:gd name="connsiteX8" fmla="*/ 109532 w 3182112"/>
              <a:gd name="connsiteY8" fmla="*/ 0 h 3182111"/>
              <a:gd name="connsiteX9" fmla="*/ 1069848 w 3182112"/>
              <a:gd name="connsiteY9" fmla="*/ 1700784 h 3182111"/>
              <a:gd name="connsiteX10" fmla="*/ 2715768 w 3182112"/>
              <a:gd name="connsiteY10" fmla="*/ 1700784 h 3182111"/>
              <a:gd name="connsiteX11" fmla="*/ 2825486 w 3182112"/>
              <a:gd name="connsiteY11" fmla="*/ 1591066 h 3182111"/>
              <a:gd name="connsiteX12" fmla="*/ 2715768 w 3182112"/>
              <a:gd name="connsiteY12" fmla="*/ 1481348 h 3182111"/>
              <a:gd name="connsiteX13" fmla="*/ 1069848 w 3182112"/>
              <a:gd name="connsiteY13" fmla="*/ 1481348 h 3182111"/>
              <a:gd name="connsiteX14" fmla="*/ 960130 w 3182112"/>
              <a:gd name="connsiteY14" fmla="*/ 1591066 h 3182111"/>
              <a:gd name="connsiteX15" fmla="*/ 1069848 w 3182112"/>
              <a:gd name="connsiteY15" fmla="*/ 1700784 h 3182111"/>
              <a:gd name="connsiteX16" fmla="*/ 1069848 w 3182112"/>
              <a:gd name="connsiteY16" fmla="*/ 2359142 h 3182111"/>
              <a:gd name="connsiteX17" fmla="*/ 2715768 w 3182112"/>
              <a:gd name="connsiteY17" fmla="*/ 2359142 h 3182111"/>
              <a:gd name="connsiteX18" fmla="*/ 2825486 w 3182112"/>
              <a:gd name="connsiteY18" fmla="*/ 2249424 h 3182111"/>
              <a:gd name="connsiteX19" fmla="*/ 2715768 w 3182112"/>
              <a:gd name="connsiteY19" fmla="*/ 2139706 h 3182111"/>
              <a:gd name="connsiteX20" fmla="*/ 1069848 w 3182112"/>
              <a:gd name="connsiteY20" fmla="*/ 2139706 h 3182111"/>
              <a:gd name="connsiteX21" fmla="*/ 960130 w 3182112"/>
              <a:gd name="connsiteY21" fmla="*/ 2249424 h 3182111"/>
              <a:gd name="connsiteX22" fmla="*/ 1069848 w 3182112"/>
              <a:gd name="connsiteY22" fmla="*/ 2359142 h 3182111"/>
              <a:gd name="connsiteX23" fmla="*/ 1069848 w 3182112"/>
              <a:gd name="connsiteY23" fmla="*/ 1042406 h 3182111"/>
              <a:gd name="connsiteX24" fmla="*/ 2715768 w 3182112"/>
              <a:gd name="connsiteY24" fmla="*/ 1042406 h 3182111"/>
              <a:gd name="connsiteX25" fmla="*/ 2825486 w 3182112"/>
              <a:gd name="connsiteY25" fmla="*/ 932688 h 3182111"/>
              <a:gd name="connsiteX26" fmla="*/ 2715768 w 3182112"/>
              <a:gd name="connsiteY26" fmla="*/ 822970 h 3182111"/>
              <a:gd name="connsiteX27" fmla="*/ 1069848 w 3182112"/>
              <a:gd name="connsiteY27" fmla="*/ 822970 h 3182111"/>
              <a:gd name="connsiteX28" fmla="*/ 960130 w 3182112"/>
              <a:gd name="connsiteY28" fmla="*/ 932688 h 3182111"/>
              <a:gd name="connsiteX29" fmla="*/ 1069848 w 3182112"/>
              <a:gd name="connsiteY29" fmla="*/ 1042406 h 3182111"/>
              <a:gd name="connsiteX30" fmla="*/ 356606 w 3182112"/>
              <a:gd name="connsiteY30" fmla="*/ 932688 h 3182111"/>
              <a:gd name="connsiteX31" fmla="*/ 576043 w 3182112"/>
              <a:gd name="connsiteY31" fmla="*/ 1152124 h 3182111"/>
              <a:gd name="connsiteX32" fmla="*/ 795518 w 3182112"/>
              <a:gd name="connsiteY32" fmla="*/ 932688 h 3182111"/>
              <a:gd name="connsiteX33" fmla="*/ 576043 w 3182112"/>
              <a:gd name="connsiteY33" fmla="*/ 713212 h 3182111"/>
              <a:gd name="connsiteX34" fmla="*/ 356606 w 3182112"/>
              <a:gd name="connsiteY34" fmla="*/ 932688 h 3182111"/>
              <a:gd name="connsiteX35" fmla="*/ 493766 w 3182112"/>
              <a:gd name="connsiteY35" fmla="*/ 932688 h 3182111"/>
              <a:gd name="connsiteX36" fmla="*/ 576043 w 3182112"/>
              <a:gd name="connsiteY36" fmla="*/ 850372 h 3182111"/>
              <a:gd name="connsiteX37" fmla="*/ 658368 w 3182112"/>
              <a:gd name="connsiteY37" fmla="*/ 932688 h 3182111"/>
              <a:gd name="connsiteX38" fmla="*/ 576043 w 3182112"/>
              <a:gd name="connsiteY38" fmla="*/ 1014964 h 3182111"/>
              <a:gd name="connsiteX39" fmla="*/ 493766 w 3182112"/>
              <a:gd name="connsiteY39" fmla="*/ 932688 h 3182111"/>
              <a:gd name="connsiteX40" fmla="*/ 356606 w 3182112"/>
              <a:gd name="connsiteY40" fmla="*/ 1591046 h 3182111"/>
              <a:gd name="connsiteX41" fmla="*/ 576043 w 3182112"/>
              <a:gd name="connsiteY41" fmla="*/ 1810483 h 3182111"/>
              <a:gd name="connsiteX42" fmla="*/ 795518 w 3182112"/>
              <a:gd name="connsiteY42" fmla="*/ 1591046 h 3182111"/>
              <a:gd name="connsiteX43" fmla="*/ 576043 w 3182112"/>
              <a:gd name="connsiteY43" fmla="*/ 1371610 h 3182111"/>
              <a:gd name="connsiteX44" fmla="*/ 356606 w 3182112"/>
              <a:gd name="connsiteY44" fmla="*/ 1591046 h 3182111"/>
              <a:gd name="connsiteX45" fmla="*/ 493766 w 3182112"/>
              <a:gd name="connsiteY45" fmla="*/ 1591046 h 3182111"/>
              <a:gd name="connsiteX46" fmla="*/ 576043 w 3182112"/>
              <a:gd name="connsiteY46" fmla="*/ 1508770 h 3182111"/>
              <a:gd name="connsiteX47" fmla="*/ 658368 w 3182112"/>
              <a:gd name="connsiteY47" fmla="*/ 1591046 h 3182111"/>
              <a:gd name="connsiteX48" fmla="*/ 576043 w 3182112"/>
              <a:gd name="connsiteY48" fmla="*/ 1673323 h 3182111"/>
              <a:gd name="connsiteX49" fmla="*/ 493766 w 3182112"/>
              <a:gd name="connsiteY49" fmla="*/ 1591046 h 3182111"/>
              <a:gd name="connsiteX50" fmla="*/ 356606 w 3182112"/>
              <a:gd name="connsiteY50" fmla="*/ 2249405 h 3182111"/>
              <a:gd name="connsiteX51" fmla="*/ 576043 w 3182112"/>
              <a:gd name="connsiteY51" fmla="*/ 2468880 h 3182111"/>
              <a:gd name="connsiteX52" fmla="*/ 795518 w 3182112"/>
              <a:gd name="connsiteY52" fmla="*/ 2249405 h 3182111"/>
              <a:gd name="connsiteX53" fmla="*/ 576043 w 3182112"/>
              <a:gd name="connsiteY53" fmla="*/ 2029968 h 3182111"/>
              <a:gd name="connsiteX54" fmla="*/ 356606 w 3182112"/>
              <a:gd name="connsiteY54" fmla="*/ 2249405 h 3182111"/>
              <a:gd name="connsiteX55" fmla="*/ 493766 w 3182112"/>
              <a:gd name="connsiteY55" fmla="*/ 2249405 h 3182111"/>
              <a:gd name="connsiteX56" fmla="*/ 576043 w 3182112"/>
              <a:gd name="connsiteY56" fmla="*/ 2167128 h 3182111"/>
              <a:gd name="connsiteX57" fmla="*/ 658368 w 3182112"/>
              <a:gd name="connsiteY57" fmla="*/ 2249405 h 3182111"/>
              <a:gd name="connsiteX58" fmla="*/ 576043 w 3182112"/>
              <a:gd name="connsiteY58" fmla="*/ 2331720 h 3182111"/>
              <a:gd name="connsiteX59" fmla="*/ 493766 w 3182112"/>
              <a:gd name="connsiteY59" fmla="*/ 2249405 h 3182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3182112" h="3182111">
                <a:moveTo>
                  <a:pt x="109532" y="0"/>
                </a:moveTo>
                <a:lnTo>
                  <a:pt x="3072580" y="0"/>
                </a:lnTo>
                <a:cubicBezTo>
                  <a:pt x="3133430" y="0"/>
                  <a:pt x="3182112" y="49025"/>
                  <a:pt x="3182112" y="109532"/>
                </a:cubicBezTo>
                <a:lnTo>
                  <a:pt x="3182112" y="3072580"/>
                </a:lnTo>
                <a:cubicBezTo>
                  <a:pt x="3182112" y="3133430"/>
                  <a:pt x="3133087" y="3182112"/>
                  <a:pt x="3072580" y="3182112"/>
                </a:cubicBezTo>
                <a:lnTo>
                  <a:pt x="109532" y="3182112"/>
                </a:lnTo>
                <a:cubicBezTo>
                  <a:pt x="48682" y="3182112"/>
                  <a:pt x="0" y="3133087"/>
                  <a:pt x="0" y="3072580"/>
                </a:cubicBezTo>
                <a:lnTo>
                  <a:pt x="0" y="109532"/>
                </a:lnTo>
                <a:cubicBezTo>
                  <a:pt x="0" y="48682"/>
                  <a:pt x="49025" y="0"/>
                  <a:pt x="109532" y="0"/>
                </a:cubicBezTo>
                <a:close/>
                <a:moveTo>
                  <a:pt x="1069848" y="1700784"/>
                </a:moveTo>
                <a:lnTo>
                  <a:pt x="2715768" y="1700784"/>
                </a:lnTo>
                <a:cubicBezTo>
                  <a:pt x="2776354" y="1700784"/>
                  <a:pt x="2825486" y="1651681"/>
                  <a:pt x="2825486" y="1591066"/>
                </a:cubicBezTo>
                <a:cubicBezTo>
                  <a:pt x="2825486" y="1530451"/>
                  <a:pt x="2776344" y="1481348"/>
                  <a:pt x="2715768" y="1481348"/>
                </a:cubicBezTo>
                <a:lnTo>
                  <a:pt x="1069848" y="1481348"/>
                </a:lnTo>
                <a:cubicBezTo>
                  <a:pt x="1009223" y="1481348"/>
                  <a:pt x="960130" y="1530451"/>
                  <a:pt x="960130" y="1591066"/>
                </a:cubicBezTo>
                <a:cubicBezTo>
                  <a:pt x="960130" y="1651681"/>
                  <a:pt x="1009233" y="1700784"/>
                  <a:pt x="1069848" y="1700784"/>
                </a:cubicBezTo>
                <a:close/>
                <a:moveTo>
                  <a:pt x="1069848" y="2359142"/>
                </a:moveTo>
                <a:lnTo>
                  <a:pt x="2715768" y="2359142"/>
                </a:lnTo>
                <a:cubicBezTo>
                  <a:pt x="2776354" y="2359142"/>
                  <a:pt x="2825486" y="2310039"/>
                  <a:pt x="2825486" y="2249424"/>
                </a:cubicBezTo>
                <a:cubicBezTo>
                  <a:pt x="2825486" y="2188839"/>
                  <a:pt x="2776344" y="2139706"/>
                  <a:pt x="2715768" y="2139706"/>
                </a:cubicBezTo>
                <a:lnTo>
                  <a:pt x="1069848" y="2139706"/>
                </a:lnTo>
                <a:cubicBezTo>
                  <a:pt x="1009223" y="2139706"/>
                  <a:pt x="960130" y="2188848"/>
                  <a:pt x="960130" y="2249424"/>
                </a:cubicBezTo>
                <a:cubicBezTo>
                  <a:pt x="960130" y="2310049"/>
                  <a:pt x="1009233" y="2359142"/>
                  <a:pt x="1069848" y="2359142"/>
                </a:cubicBezTo>
                <a:close/>
                <a:moveTo>
                  <a:pt x="1069848" y="1042406"/>
                </a:moveTo>
                <a:lnTo>
                  <a:pt x="2715768" y="1042406"/>
                </a:lnTo>
                <a:cubicBezTo>
                  <a:pt x="2776354" y="1042406"/>
                  <a:pt x="2825486" y="993264"/>
                  <a:pt x="2825486" y="932688"/>
                </a:cubicBezTo>
                <a:cubicBezTo>
                  <a:pt x="2825486" y="872073"/>
                  <a:pt x="2776344" y="822970"/>
                  <a:pt x="2715768" y="822970"/>
                </a:cubicBezTo>
                <a:lnTo>
                  <a:pt x="1069848" y="822970"/>
                </a:lnTo>
                <a:cubicBezTo>
                  <a:pt x="1009223" y="822970"/>
                  <a:pt x="960130" y="872073"/>
                  <a:pt x="960130" y="932688"/>
                </a:cubicBezTo>
                <a:cubicBezTo>
                  <a:pt x="960130" y="993274"/>
                  <a:pt x="1009233" y="1042406"/>
                  <a:pt x="1069848" y="1042406"/>
                </a:cubicBezTo>
                <a:close/>
                <a:moveTo>
                  <a:pt x="356606" y="932688"/>
                </a:moveTo>
                <a:cubicBezTo>
                  <a:pt x="356606" y="1053624"/>
                  <a:pt x="454842" y="1152124"/>
                  <a:pt x="576043" y="1152124"/>
                </a:cubicBezTo>
                <a:cubicBezTo>
                  <a:pt x="697018" y="1152124"/>
                  <a:pt x="795518" y="1053889"/>
                  <a:pt x="795518" y="932688"/>
                </a:cubicBezTo>
                <a:cubicBezTo>
                  <a:pt x="795518" y="811713"/>
                  <a:pt x="697243" y="713212"/>
                  <a:pt x="576043" y="713212"/>
                </a:cubicBezTo>
                <a:cubicBezTo>
                  <a:pt x="455107" y="713212"/>
                  <a:pt x="356606" y="811488"/>
                  <a:pt x="356606" y="932688"/>
                </a:cubicBezTo>
                <a:close/>
                <a:moveTo>
                  <a:pt x="493766" y="932688"/>
                </a:moveTo>
                <a:cubicBezTo>
                  <a:pt x="493766" y="887337"/>
                  <a:pt x="530731" y="850372"/>
                  <a:pt x="576043" y="850372"/>
                </a:cubicBezTo>
                <a:cubicBezTo>
                  <a:pt x="621394" y="850372"/>
                  <a:pt x="658368" y="887376"/>
                  <a:pt x="658368" y="932688"/>
                </a:cubicBezTo>
                <a:cubicBezTo>
                  <a:pt x="658368" y="978039"/>
                  <a:pt x="621354" y="1014964"/>
                  <a:pt x="576043" y="1014964"/>
                </a:cubicBezTo>
                <a:cubicBezTo>
                  <a:pt x="530731" y="1014964"/>
                  <a:pt x="493766" y="978000"/>
                  <a:pt x="493766" y="932688"/>
                </a:cubicBezTo>
                <a:close/>
                <a:moveTo>
                  <a:pt x="356606" y="1591046"/>
                </a:moveTo>
                <a:cubicBezTo>
                  <a:pt x="356606" y="1712021"/>
                  <a:pt x="454842" y="1810483"/>
                  <a:pt x="576043" y="1810483"/>
                </a:cubicBezTo>
                <a:cubicBezTo>
                  <a:pt x="697018" y="1810483"/>
                  <a:pt x="795518" y="1712247"/>
                  <a:pt x="795518" y="1591046"/>
                </a:cubicBezTo>
                <a:cubicBezTo>
                  <a:pt x="795518" y="1470071"/>
                  <a:pt x="697243" y="1371610"/>
                  <a:pt x="576043" y="1371610"/>
                </a:cubicBezTo>
                <a:cubicBezTo>
                  <a:pt x="455107" y="1371610"/>
                  <a:pt x="356606" y="1469846"/>
                  <a:pt x="356606" y="1591046"/>
                </a:cubicBezTo>
                <a:close/>
                <a:moveTo>
                  <a:pt x="493766" y="1591046"/>
                </a:moveTo>
                <a:cubicBezTo>
                  <a:pt x="493766" y="1545695"/>
                  <a:pt x="530731" y="1508770"/>
                  <a:pt x="576043" y="1508770"/>
                </a:cubicBezTo>
                <a:cubicBezTo>
                  <a:pt x="621394" y="1508770"/>
                  <a:pt x="658368" y="1545734"/>
                  <a:pt x="658368" y="1591046"/>
                </a:cubicBezTo>
                <a:cubicBezTo>
                  <a:pt x="658368" y="1636397"/>
                  <a:pt x="621354" y="1673323"/>
                  <a:pt x="576043" y="1673323"/>
                </a:cubicBezTo>
                <a:cubicBezTo>
                  <a:pt x="530731" y="1673323"/>
                  <a:pt x="493766" y="1636358"/>
                  <a:pt x="493766" y="1591046"/>
                </a:cubicBezTo>
                <a:close/>
                <a:moveTo>
                  <a:pt x="356606" y="2249405"/>
                </a:moveTo>
                <a:cubicBezTo>
                  <a:pt x="356606" y="2370380"/>
                  <a:pt x="454842" y="2468880"/>
                  <a:pt x="576043" y="2468880"/>
                </a:cubicBezTo>
                <a:cubicBezTo>
                  <a:pt x="697018" y="2468880"/>
                  <a:pt x="795518" y="2370605"/>
                  <a:pt x="795518" y="2249405"/>
                </a:cubicBezTo>
                <a:cubicBezTo>
                  <a:pt x="795518" y="2128469"/>
                  <a:pt x="697243" y="2029968"/>
                  <a:pt x="576043" y="2029968"/>
                </a:cubicBezTo>
                <a:cubicBezTo>
                  <a:pt x="455107" y="2029968"/>
                  <a:pt x="356606" y="2128204"/>
                  <a:pt x="356606" y="2249405"/>
                </a:cubicBezTo>
                <a:close/>
                <a:moveTo>
                  <a:pt x="493766" y="2249405"/>
                </a:moveTo>
                <a:cubicBezTo>
                  <a:pt x="493766" y="2204054"/>
                  <a:pt x="530731" y="2167128"/>
                  <a:pt x="576043" y="2167128"/>
                </a:cubicBezTo>
                <a:cubicBezTo>
                  <a:pt x="621394" y="2167128"/>
                  <a:pt x="658368" y="2204093"/>
                  <a:pt x="658368" y="2249405"/>
                </a:cubicBezTo>
                <a:cubicBezTo>
                  <a:pt x="658368" y="2294755"/>
                  <a:pt x="621354" y="2331720"/>
                  <a:pt x="576043" y="2331720"/>
                </a:cubicBezTo>
                <a:cubicBezTo>
                  <a:pt x="530731" y="2331720"/>
                  <a:pt x="493766" y="2294716"/>
                  <a:pt x="493766" y="2249405"/>
                </a:cubicBezTo>
                <a:close/>
              </a:path>
            </a:pathLst>
          </a:custGeom>
          <a:solidFill>
            <a:srgbClr val="FFFFFF"/>
          </a:solidFill>
          <a:ln w="97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2" name="Oval 21">
            <a:hlinkClick r:id="" action="ppaction://noaction"/>
            <a:extLst>
              <a:ext uri="{FF2B5EF4-FFF2-40B4-BE49-F238E27FC236}">
                <a16:creationId xmlns:a16="http://schemas.microsoft.com/office/drawing/2014/main" id="{8D3615E2-E4DA-8191-1CAF-1AA6B742BFFE}"/>
              </a:ext>
            </a:extLst>
          </p:cNvPr>
          <p:cNvSpPr/>
          <p:nvPr/>
        </p:nvSpPr>
        <p:spPr>
          <a:xfrm flipH="1" flipV="1">
            <a:off x="11337736" y="127008"/>
            <a:ext cx="310896" cy="310896"/>
          </a:xfrm>
          <a:prstGeom prst="ellipse">
            <a:avLst/>
          </a:prstGeom>
          <a:noFill/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Oval 22">
            <a:hlinkClick r:id="rId4" action="ppaction://hlinksldjump"/>
            <a:extLst>
              <a:ext uri="{FF2B5EF4-FFF2-40B4-BE49-F238E27FC236}">
                <a16:creationId xmlns:a16="http://schemas.microsoft.com/office/drawing/2014/main" id="{ED2126E4-B92F-F67B-AB04-3BBBE334A9D7}"/>
              </a:ext>
            </a:extLst>
          </p:cNvPr>
          <p:cNvSpPr/>
          <p:nvPr/>
        </p:nvSpPr>
        <p:spPr>
          <a:xfrm flipH="1" flipV="1">
            <a:off x="11710669" y="127008"/>
            <a:ext cx="310896" cy="310896"/>
          </a:xfrm>
          <a:prstGeom prst="ellipse">
            <a:avLst/>
          </a:prstGeom>
          <a:noFill/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10323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Amgen Corporate">
  <a:themeElements>
    <a:clrScheme name="Custom 7">
      <a:dk1>
        <a:srgbClr val="000000"/>
      </a:dk1>
      <a:lt1>
        <a:srgbClr val="FFFFFF"/>
      </a:lt1>
      <a:dk2>
        <a:srgbClr val="605D75"/>
      </a:dk2>
      <a:lt2>
        <a:srgbClr val="ADADAD"/>
      </a:lt2>
      <a:accent1>
        <a:srgbClr val="0063C3"/>
      </a:accent1>
      <a:accent2>
        <a:srgbClr val="00BCE3"/>
      </a:accent2>
      <a:accent3>
        <a:srgbClr val="7EE0DD"/>
      </a:accent3>
      <a:accent4>
        <a:srgbClr val="2CC84D"/>
      </a:accent4>
      <a:accent5>
        <a:srgbClr val="FBE122"/>
      </a:accent5>
      <a:accent6>
        <a:srgbClr val="FF6720"/>
      </a:accent6>
      <a:hlink>
        <a:srgbClr val="151F6D"/>
      </a:hlink>
      <a:folHlink>
        <a:srgbClr val="830B55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50800" cap="flat">
          <a:noFill/>
          <a:prstDash val="solid"/>
          <a:miter/>
        </a:ln>
      </a:spPr>
      <a:bodyPr rtlCol="0" anchor="ctr"/>
      <a:lstStyle>
        <a:defPPr algn="l">
          <a:defRPr dirty="0"/>
        </a:defPPr>
      </a:lstStyle>
    </a:spDef>
    <a:lnDef>
      <a:spPr>
        <a:ln w="28575" cap="rnd">
          <a:solidFill>
            <a:schemeClr val="tx1"/>
          </a:solidFill>
          <a:tailEnd type="stealth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ts val="2030"/>
          </a:lnSpc>
          <a:defRPr sz="1400" dirty="0">
            <a:latin typeface="+mn-lt"/>
            <a:ea typeface="MS Mincho" panose="02020609040205080304" pitchFamily="49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mgen PPT_update_100422" id="{AFBF8AD3-DA8B-F845-80EC-613E041561F4}" vid="{891AC1A6-5322-D74F-8C7A-50FAA0570FF8}"/>
    </a:ext>
  </a:extLst>
</a:theme>
</file>

<file path=ppt/theme/theme3.xml><?xml version="1.0" encoding="utf-8"?>
<a:theme xmlns:a="http://schemas.openxmlformats.org/drawingml/2006/main" name="2016 Amgen Oncology">
  <a:themeElements>
    <a:clrScheme name="Custom 15">
      <a:dk1>
        <a:srgbClr val="000000"/>
      </a:dk1>
      <a:lt1>
        <a:srgbClr val="FFFFFF"/>
      </a:lt1>
      <a:dk2>
        <a:srgbClr val="716F73"/>
      </a:dk2>
      <a:lt2>
        <a:srgbClr val="00BCE4"/>
      </a:lt2>
      <a:accent1>
        <a:srgbClr val="0063C3"/>
      </a:accent1>
      <a:accent2>
        <a:srgbClr val="88C765"/>
      </a:accent2>
      <a:accent3>
        <a:srgbClr val="F3C108"/>
      </a:accent3>
      <a:accent4>
        <a:srgbClr val="D34D2F"/>
      </a:accent4>
      <a:accent5>
        <a:srgbClr val="597B7C"/>
      </a:accent5>
      <a:accent6>
        <a:srgbClr val="005480"/>
      </a:accent6>
      <a:hlink>
        <a:srgbClr val="000000"/>
      </a:hlink>
      <a:folHlink>
        <a:srgbClr val="00000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mgen Powerpoint Template 1">
        <a:dk1>
          <a:srgbClr val="000000"/>
        </a:dk1>
        <a:lt1>
          <a:srgbClr val="FFFFFF"/>
        </a:lt1>
        <a:dk2>
          <a:srgbClr val="000000"/>
        </a:dk2>
        <a:lt2>
          <a:srgbClr val="777777"/>
        </a:lt2>
        <a:accent1>
          <a:srgbClr val="0063C3"/>
        </a:accent1>
        <a:accent2>
          <a:srgbClr val="FCC30C"/>
        </a:accent2>
        <a:accent3>
          <a:srgbClr val="FFFFFF"/>
        </a:accent3>
        <a:accent4>
          <a:srgbClr val="000000"/>
        </a:accent4>
        <a:accent5>
          <a:srgbClr val="AAB7DE"/>
        </a:accent5>
        <a:accent6>
          <a:srgbClr val="E4B00A"/>
        </a:accent6>
        <a:hlink>
          <a:srgbClr val="42865C"/>
        </a:hlink>
        <a:folHlink>
          <a:srgbClr val="C0362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mgen Powerpoint Template 2">
        <a:dk1>
          <a:srgbClr val="000000"/>
        </a:dk1>
        <a:lt1>
          <a:srgbClr val="FFFFFF"/>
        </a:lt1>
        <a:dk2>
          <a:srgbClr val="000000"/>
        </a:dk2>
        <a:lt2>
          <a:srgbClr val="777777"/>
        </a:lt2>
        <a:accent1>
          <a:srgbClr val="007CC2"/>
        </a:accent1>
        <a:accent2>
          <a:srgbClr val="FCC30C"/>
        </a:accent2>
        <a:accent3>
          <a:srgbClr val="FFFFFF"/>
        </a:accent3>
        <a:accent4>
          <a:srgbClr val="000000"/>
        </a:accent4>
        <a:accent5>
          <a:srgbClr val="AABFDD"/>
        </a:accent5>
        <a:accent6>
          <a:srgbClr val="E4B00A"/>
        </a:accent6>
        <a:hlink>
          <a:srgbClr val="42865C"/>
        </a:hlink>
        <a:folHlink>
          <a:srgbClr val="C0362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linatumomab MOA slide.pptx  -  Read-Only" id="{338401C5-CB25-449C-91DF-32A19E234D2D}" vid="{45BBFF11-8F50-4C1B-9979-DBD3DC8718E8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</TotalTime>
  <Words>1116</Words>
  <Application>Microsoft Office PowerPoint</Application>
  <PresentationFormat>Widescreen</PresentationFormat>
  <Paragraphs>58</Paragraphs>
  <Slides>1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3" baseType="lpstr">
      <vt:lpstr>Arial</vt:lpstr>
      <vt:lpstr>Calibri</vt:lpstr>
      <vt:lpstr>Century Gothic</vt:lpstr>
      <vt:lpstr>Courier New</vt:lpstr>
      <vt:lpstr>System Font Regular</vt:lpstr>
      <vt:lpstr>Verdana</vt:lpstr>
      <vt:lpstr>Wingdings</vt:lpstr>
      <vt:lpstr>1_Office Theme</vt:lpstr>
      <vt:lpstr>Amgen Corporate</vt:lpstr>
      <vt:lpstr>2016 Amgen Oncology</vt:lpstr>
      <vt:lpstr>think-cell Slide</vt:lpstr>
      <vt:lpstr>May 25th, 2024 Management of Ph- B-ALL: A focus on E1910 Study  ADVISORS PRE-READS</vt:lpstr>
      <vt:lpstr>E1910 Study</vt:lpstr>
      <vt:lpstr>PowerPoint Presentation</vt:lpstr>
      <vt:lpstr>Background</vt:lpstr>
      <vt:lpstr>E1910: Randomized Phase 3 adult frontline ALL </vt:lpstr>
      <vt:lpstr>Methods</vt:lpstr>
      <vt:lpstr>Results</vt:lpstr>
      <vt:lpstr>Results</vt:lpstr>
      <vt:lpstr>Results</vt:lpstr>
      <vt:lpstr>Results</vt:lpstr>
      <vt:lpstr>Results</vt:lpstr>
      <vt:lpstr>Summary/Conclus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rch 2nd 2024 Management of Ph+ B-ALL and elderly ALL ADVISORS PRE-READS</dc:title>
  <dc:creator>Ghonim, Aya</dc:creator>
  <cp:lastModifiedBy>salma arafa</cp:lastModifiedBy>
  <cp:revision>4</cp:revision>
  <dcterms:created xsi:type="dcterms:W3CDTF">2024-02-23T09:30:38Z</dcterms:created>
  <dcterms:modified xsi:type="dcterms:W3CDTF">2024-05-16T08:58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5e75503-0edf-4274-9f8b-1f267fd68475_Enabled">
    <vt:lpwstr>true</vt:lpwstr>
  </property>
  <property fmtid="{D5CDD505-2E9C-101B-9397-08002B2CF9AE}" pid="3" name="MSIP_Label_65e75503-0edf-4274-9f8b-1f267fd68475_SetDate">
    <vt:lpwstr>2024-02-25T04:55:18Z</vt:lpwstr>
  </property>
  <property fmtid="{D5CDD505-2E9C-101B-9397-08002B2CF9AE}" pid="4" name="MSIP_Label_65e75503-0edf-4274-9f8b-1f267fd68475_Method">
    <vt:lpwstr>Privileged</vt:lpwstr>
  </property>
  <property fmtid="{D5CDD505-2E9C-101B-9397-08002B2CF9AE}" pid="5" name="MSIP_Label_65e75503-0edf-4274-9f8b-1f267fd68475_Name">
    <vt:lpwstr>Non-Amgen (no marking)</vt:lpwstr>
  </property>
  <property fmtid="{D5CDD505-2E9C-101B-9397-08002B2CF9AE}" pid="6" name="MSIP_Label_65e75503-0edf-4274-9f8b-1f267fd68475_SiteId">
    <vt:lpwstr>4b4266a6-1368-41af-ad5a-59eb634f7ad8</vt:lpwstr>
  </property>
  <property fmtid="{D5CDD505-2E9C-101B-9397-08002B2CF9AE}" pid="7" name="MSIP_Label_65e75503-0edf-4274-9f8b-1f267fd68475_ActionId">
    <vt:lpwstr>b8c112ba-0695-46e3-8c6f-9f6bd4dfbf31</vt:lpwstr>
  </property>
  <property fmtid="{D5CDD505-2E9C-101B-9397-08002B2CF9AE}" pid="8" name="MSIP_Label_65e75503-0edf-4274-9f8b-1f267fd68475_ContentBits">
    <vt:lpwstr>0</vt:lpwstr>
  </property>
</Properties>
</file>